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Default Extension="bin" ContentType="application/vnd.openxmlformats-officedocument.oleObject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</p:sldMasterIdLst>
  <p:notesMasterIdLst>
    <p:notesMasterId r:id="rId48"/>
  </p:notesMasterIdLst>
  <p:sldIdLst>
    <p:sldId id="300" r:id="rId3"/>
    <p:sldId id="312" r:id="rId4"/>
    <p:sldId id="313" r:id="rId5"/>
    <p:sldId id="259" r:id="rId6"/>
    <p:sldId id="301" r:id="rId7"/>
    <p:sldId id="302" r:id="rId8"/>
    <p:sldId id="261" r:id="rId9"/>
    <p:sldId id="263" r:id="rId10"/>
    <p:sldId id="303" r:id="rId11"/>
    <p:sldId id="265" r:id="rId12"/>
    <p:sldId id="266" r:id="rId13"/>
    <p:sldId id="267" r:id="rId14"/>
    <p:sldId id="268" r:id="rId15"/>
    <p:sldId id="269" r:id="rId16"/>
    <p:sldId id="270" r:id="rId17"/>
    <p:sldId id="304" r:id="rId18"/>
    <p:sldId id="272" r:id="rId19"/>
    <p:sldId id="274" r:id="rId20"/>
    <p:sldId id="275" r:id="rId21"/>
    <p:sldId id="276" r:id="rId22"/>
    <p:sldId id="277" r:id="rId23"/>
    <p:sldId id="306" r:id="rId24"/>
    <p:sldId id="305" r:id="rId25"/>
    <p:sldId id="307" r:id="rId26"/>
    <p:sldId id="279" r:id="rId27"/>
    <p:sldId id="309" r:id="rId28"/>
    <p:sldId id="280" r:id="rId29"/>
    <p:sldId id="281" r:id="rId30"/>
    <p:sldId id="282" r:id="rId31"/>
    <p:sldId id="283" r:id="rId32"/>
    <p:sldId id="284" r:id="rId33"/>
    <p:sldId id="285" r:id="rId34"/>
    <p:sldId id="286" r:id="rId35"/>
    <p:sldId id="287" r:id="rId36"/>
    <p:sldId id="288" r:id="rId37"/>
    <p:sldId id="289" r:id="rId38"/>
    <p:sldId id="290" r:id="rId39"/>
    <p:sldId id="291" r:id="rId40"/>
    <p:sldId id="292" r:id="rId41"/>
    <p:sldId id="293" r:id="rId42"/>
    <p:sldId id="294" r:id="rId43"/>
    <p:sldId id="310" r:id="rId44"/>
    <p:sldId id="298" r:id="rId45"/>
    <p:sldId id="299" r:id="rId46"/>
    <p:sldId id="311" r:id="rId47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45" y="-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D20236-0984-4A50-8E52-AE50120E40D0}" type="datetimeFigureOut">
              <a:rPr lang="en-US" smtClean="0"/>
              <a:pPr/>
              <a:t>8/2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243D37-76D3-4345-A5BF-5FDE51BC1E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70809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="" xmlns:p14="http://schemas.microsoft.com/office/powerpoint/2010/main" val="2973057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="" xmlns:p14="http://schemas.microsoft.com/office/powerpoint/2010/main" val="2048954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="" xmlns:p14="http://schemas.microsoft.com/office/powerpoint/2010/main" val="3496439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0" y="18321"/>
            <a:ext cx="9144000" cy="507831"/>
          </a:xfrm>
        </p:spPr>
        <p:txBody>
          <a:bodyPr lIns="0" tIns="0" rIns="0" bIns="0"/>
          <a:lstStyle>
            <a:lvl1pPr>
              <a:defRPr sz="33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lnSpc>
                <a:spcPts val="994"/>
              </a:lnSpc>
            </a:pPr>
            <a:r>
              <a:rPr lang="en-US" sz="900" spc="-4" smtClean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lang="en-US" spc="-4" smtClean="0">
                <a:solidFill>
                  <a:prstClr val="black"/>
                </a:solidFill>
              </a:rPr>
              <a:t>India </a:t>
            </a:r>
            <a:r>
              <a:rPr lang="en-US" spc="-8" smtClean="0">
                <a:solidFill>
                  <a:prstClr val="black"/>
                </a:solidFill>
              </a:rPr>
              <a:t>SAP </a:t>
            </a:r>
            <a:r>
              <a:rPr lang="en-US" spc="-4" smtClean="0">
                <a:solidFill>
                  <a:prstClr val="black"/>
                </a:solidFill>
              </a:rPr>
              <a:t>CoE, </a:t>
            </a:r>
            <a:r>
              <a:rPr lang="en-US" spc="-8" smtClean="0">
                <a:solidFill>
                  <a:prstClr val="black"/>
                </a:solidFill>
              </a:rPr>
              <a:t>Slide</a:t>
            </a:r>
            <a:r>
              <a:rPr lang="en-US" spc="-34" smtClean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4" smtClean="0">
                <a:solidFill>
                  <a:prstClr val="black"/>
                </a:solidFill>
              </a:rPr>
              <a:pPr marL="9525">
                <a:lnSpc>
                  <a:spcPts val="994"/>
                </a:lnSpc>
              </a:pPr>
              <a:t>‹#›</a:t>
            </a:fld>
            <a:endParaRPr sz="9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4665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lnSpc>
                <a:spcPts val="994"/>
              </a:lnSpc>
            </a:pPr>
            <a:r>
              <a:rPr lang="en-US" sz="900" spc="-4" smtClean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lang="en-US" spc="-4" smtClean="0">
                <a:solidFill>
                  <a:prstClr val="black"/>
                </a:solidFill>
              </a:rPr>
              <a:t>India </a:t>
            </a:r>
            <a:r>
              <a:rPr lang="en-US" spc="-8" smtClean="0">
                <a:solidFill>
                  <a:prstClr val="black"/>
                </a:solidFill>
              </a:rPr>
              <a:t>SAP </a:t>
            </a:r>
            <a:r>
              <a:rPr lang="en-US" spc="-4" smtClean="0">
                <a:solidFill>
                  <a:prstClr val="black"/>
                </a:solidFill>
              </a:rPr>
              <a:t>CoE, </a:t>
            </a:r>
            <a:r>
              <a:rPr lang="en-US" spc="-8" smtClean="0">
                <a:solidFill>
                  <a:prstClr val="black"/>
                </a:solidFill>
              </a:rPr>
              <a:t>Slide</a:t>
            </a:r>
            <a:r>
              <a:rPr lang="en-US" spc="-34" smtClean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4" smtClean="0">
                <a:solidFill>
                  <a:prstClr val="black"/>
                </a:solidFill>
              </a:rPr>
              <a:pPr marL="9525">
                <a:lnSpc>
                  <a:spcPts val="994"/>
                </a:lnSpc>
              </a:pPr>
              <a:t>‹#›</a:t>
            </a:fld>
            <a:endParaRPr sz="9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98109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5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2959928"/>
            <a:ext cx="5035137" cy="854080"/>
          </a:xfrm>
        </p:spPr>
        <p:txBody>
          <a:bodyPr lIns="720000" rIns="33059" anchor="t"/>
          <a:lstStyle>
            <a:lvl1pPr marL="0" indent="0" algn="l">
              <a:defRPr sz="2775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5" y="4949634"/>
            <a:ext cx="4652387" cy="320679"/>
          </a:xfrm>
        </p:spPr>
        <p:txBody>
          <a:bodyPr lIns="720000" tIns="33059" rIns="33059" bIns="33059"/>
          <a:lstStyle>
            <a:lvl1pPr marL="0" indent="0" algn="l">
              <a:buNone/>
              <a:defRPr sz="1650" b="0">
                <a:solidFill>
                  <a:schemeClr val="tx1"/>
                </a:solidFill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="" xmlns:p14="http://schemas.microsoft.com/office/powerpoint/2010/main" val="2587609018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3077" name="think-cell Slide" r:id="rId7" imgW="360" imgH="360" progId="">
              <p:embed/>
            </p:oleObj>
          </a:graphicData>
        </a:graphic>
      </p:graphicFrame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8841186" y="6674730"/>
            <a:ext cx="81754" cy="80791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9C0B63B-17DD-461A-AE29-91E2C235C7A3}" type="slidenum">
              <a:rPr lang="en-US" altLang="en-US" sz="525">
                <a:solidFill>
                  <a:srgbClr val="1F497D"/>
                </a:solidFill>
              </a:rPr>
              <a:pPr algn="ctr" eaLnBrk="1" hangingPunct="1"/>
              <a:t>‹#›</a:t>
            </a:fld>
            <a:endParaRPr lang="en-US" altLang="en-US" sz="525">
              <a:solidFill>
                <a:srgbClr val="1F497D"/>
              </a:solidFill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7627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endParaRPr lang="fr-FR" sz="135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23001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26998" tIns="26998" rIns="26998" bIns="26998" anchor="b"/>
          <a:lstStyle/>
          <a:p>
            <a:pPr algn="r" defTabSz="746584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45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/>
          <p:cNvCxnSpPr/>
          <p:nvPr>
            <p:custDataLst>
              <p:tags r:id="rId5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1" y="1828802"/>
            <a:ext cx="2001838" cy="201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8"/>
            <a:ext cx="6793764" cy="1200329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76364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2161" y="207011"/>
            <a:ext cx="8799677" cy="492443"/>
          </a:xfrm>
        </p:spPr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338554"/>
          </a:xfrm>
        </p:spPr>
        <p:txBody>
          <a:bodyPr lIns="0" tIns="0" rIns="0" bIns="0"/>
          <a:lstStyle>
            <a:lvl1pPr>
              <a:defRPr sz="2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cxnSp>
        <p:nvCxnSpPr>
          <p:cNvPr id="7" name="Straight Connector 5"/>
          <p:cNvCxnSpPr/>
          <p:nvPr userDrawn="1">
            <p:custDataLst>
              <p:tags r:id="rId1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13" descr="Capgemini_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2161" y="207011"/>
            <a:ext cx="8799677" cy="492443"/>
          </a:xfrm>
        </p:spPr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04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="" xmlns:p14="http://schemas.microsoft.com/office/powerpoint/2010/main" val="227111432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lnSpc>
                <a:spcPts val="994"/>
              </a:lnSpc>
            </a:pPr>
            <a:r>
              <a:rPr lang="en-US" sz="900" spc="-4" smtClean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lang="en-US" spc="-4" smtClean="0">
                <a:solidFill>
                  <a:prstClr val="black"/>
                </a:solidFill>
              </a:rPr>
              <a:t>India </a:t>
            </a:r>
            <a:r>
              <a:rPr lang="en-US" spc="-8" smtClean="0">
                <a:solidFill>
                  <a:prstClr val="black"/>
                </a:solidFill>
              </a:rPr>
              <a:t>SAP </a:t>
            </a:r>
            <a:r>
              <a:rPr lang="en-US" spc="-4" smtClean="0">
                <a:solidFill>
                  <a:prstClr val="black"/>
                </a:solidFill>
              </a:rPr>
              <a:t>CoE, </a:t>
            </a:r>
            <a:r>
              <a:rPr lang="en-US" spc="-8" smtClean="0">
                <a:solidFill>
                  <a:prstClr val="black"/>
                </a:solidFill>
              </a:rPr>
              <a:t>Slide</a:t>
            </a:r>
            <a:r>
              <a:rPr lang="en-US" spc="-34" smtClean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4" smtClean="0">
                <a:solidFill>
                  <a:prstClr val="black"/>
                </a:solidFill>
              </a:rPr>
              <a:pPr marL="9525">
                <a:lnSpc>
                  <a:spcPts val="994"/>
                </a:lnSpc>
              </a:pPr>
              <a:t>‹#›</a:t>
            </a:fld>
            <a:endParaRPr sz="9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60518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2400" y="152402"/>
            <a:ext cx="9144000" cy="369332"/>
          </a:xfrm>
        </p:spPr>
        <p:txBody>
          <a:bodyPr lIns="0" tIns="0" rIns="0" bIns="0"/>
          <a:lstStyle>
            <a:lvl1pPr marL="52388" algn="l" defTabSz="684610" rtl="0" eaLnBrk="1" fontAlgn="base" latinLnBrk="0" hangingPunct="1">
              <a:spcBef>
                <a:spcPct val="0"/>
              </a:spcBef>
              <a:spcAft>
                <a:spcPct val="0"/>
              </a:spcAft>
              <a:defRPr sz="24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276999"/>
          </a:xfrm>
        </p:spPr>
        <p:txBody>
          <a:bodyPr lIns="0" tIns="0" rIns="0" bIns="0"/>
          <a:lstStyle>
            <a:lvl1pPr>
              <a:defRPr sz="18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lnSpc>
                <a:spcPts val="994"/>
              </a:lnSpc>
            </a:pPr>
            <a:r>
              <a:rPr lang="en-US" sz="900" spc="-4" smtClean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lang="en-US" spc="-4" smtClean="0">
                <a:solidFill>
                  <a:prstClr val="black"/>
                </a:solidFill>
              </a:rPr>
              <a:t>India </a:t>
            </a:r>
            <a:r>
              <a:rPr lang="en-US" spc="-8" smtClean="0">
                <a:solidFill>
                  <a:prstClr val="black"/>
                </a:solidFill>
              </a:rPr>
              <a:t>SAP </a:t>
            </a:r>
            <a:r>
              <a:rPr lang="en-US" spc="-4" smtClean="0">
                <a:solidFill>
                  <a:prstClr val="black"/>
                </a:solidFill>
              </a:rPr>
              <a:t>CoE, </a:t>
            </a:r>
            <a:r>
              <a:rPr lang="en-US" spc="-8" smtClean="0">
                <a:solidFill>
                  <a:prstClr val="black"/>
                </a:solidFill>
              </a:rPr>
              <a:t>Slide</a:t>
            </a:r>
            <a:r>
              <a:rPr lang="en-US" spc="-34" smtClean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4" smtClean="0">
                <a:solidFill>
                  <a:prstClr val="black"/>
                </a:solidFill>
              </a:rPr>
              <a:pPr marL="9525">
                <a:lnSpc>
                  <a:spcPts val="994"/>
                </a:lnSpc>
              </a:pPr>
              <a:t>‹#›</a:t>
            </a:fld>
            <a:endParaRPr sz="900">
              <a:solidFill>
                <a:prstClr val="black"/>
              </a:solidFill>
              <a:latin typeface="Symbol"/>
              <a:cs typeface="Symbol"/>
            </a:endParaRPr>
          </a:p>
        </p:txBody>
      </p:sp>
      <p:cxnSp>
        <p:nvCxnSpPr>
          <p:cNvPr id="7" name="Straight Connector 5"/>
          <p:cNvCxnSpPr/>
          <p:nvPr userDrawn="1">
            <p:custDataLst>
              <p:tags r:id="rId1"/>
            </p:custDataLst>
          </p:nvPr>
        </p:nvCxnSpPr>
        <p:spPr>
          <a:xfrm flipH="1">
            <a:off x="0" y="62484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359297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0" y="18321"/>
            <a:ext cx="9144000" cy="507831"/>
          </a:xfrm>
        </p:spPr>
        <p:txBody>
          <a:bodyPr lIns="0" tIns="0" rIns="0" bIns="0"/>
          <a:lstStyle>
            <a:lvl1pPr>
              <a:defRPr sz="33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lnSpc>
                <a:spcPts val="994"/>
              </a:lnSpc>
            </a:pPr>
            <a:r>
              <a:rPr lang="en-US" sz="900" spc="-4" smtClean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lang="en-US" spc="-4" smtClean="0">
                <a:solidFill>
                  <a:prstClr val="black"/>
                </a:solidFill>
              </a:rPr>
              <a:t>India </a:t>
            </a:r>
            <a:r>
              <a:rPr lang="en-US" spc="-8" smtClean="0">
                <a:solidFill>
                  <a:prstClr val="black"/>
                </a:solidFill>
              </a:rPr>
              <a:t>SAP </a:t>
            </a:r>
            <a:r>
              <a:rPr lang="en-US" spc="-4" smtClean="0">
                <a:solidFill>
                  <a:prstClr val="black"/>
                </a:solidFill>
              </a:rPr>
              <a:t>CoE, </a:t>
            </a:r>
            <a:r>
              <a:rPr lang="en-US" spc="-8" smtClean="0">
                <a:solidFill>
                  <a:prstClr val="black"/>
                </a:solidFill>
              </a:rPr>
              <a:t>Slide</a:t>
            </a:r>
            <a:r>
              <a:rPr lang="en-US" spc="-34" smtClean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4" smtClean="0">
                <a:solidFill>
                  <a:prstClr val="black"/>
                </a:solidFill>
              </a:rPr>
              <a:pPr marL="9525">
                <a:lnSpc>
                  <a:spcPts val="994"/>
                </a:lnSpc>
              </a:pPr>
              <a:t>‹#›</a:t>
            </a:fld>
            <a:endParaRPr sz="900">
              <a:solidFill>
                <a:prstClr val="black"/>
              </a:solidFill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73646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72161" y="207011"/>
            <a:ext cx="8799677" cy="678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cxnSp>
        <p:nvCxnSpPr>
          <p:cNvPr id="9" name="Straight Connector 5"/>
          <p:cNvCxnSpPr/>
          <p:nvPr userDrawn="1"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fontAlgn="auto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60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sp>
        <p:nvSpPr>
          <p:cNvPr id="12" name="Freeform 4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 sz="3200">
          <a:latin typeface="+mj-lt"/>
          <a:ea typeface="+mj-ea"/>
          <a:cs typeface="+mj-cs"/>
        </a:defRPr>
      </a:lvl1pPr>
    </p:titleStyle>
    <p:bodyStyle>
      <a:lvl1pPr marL="285750" indent="-285750">
        <a:buClr>
          <a:srgbClr val="00B0F0"/>
        </a:buClr>
        <a:buFont typeface="Wingdings" panose="05000000000000000000" pitchFamily="2" charset="2"/>
        <a:buChar char="§"/>
        <a:defRPr sz="2200" b="0"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7162801" y="6324600"/>
            <a:ext cx="1697101" cy="381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0" y="18321"/>
            <a:ext cx="91440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17627" y="6680304"/>
            <a:ext cx="1524635" cy="128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lnSpc>
                <a:spcPts val="994"/>
              </a:lnSpc>
            </a:pPr>
            <a:r>
              <a:rPr lang="en-US" sz="900" spc="-4" smtClean="0">
                <a:solidFill>
                  <a:prstClr val="black"/>
                </a:solidFill>
                <a:latin typeface="Symbol"/>
                <a:cs typeface="Symbol"/>
              </a:rPr>
              <a:t></a:t>
            </a:r>
            <a:r>
              <a:rPr lang="en-US" spc="-4" smtClean="0">
                <a:solidFill>
                  <a:prstClr val="black"/>
                </a:solidFill>
              </a:rPr>
              <a:t>India </a:t>
            </a:r>
            <a:r>
              <a:rPr lang="en-US" spc="-8" smtClean="0">
                <a:solidFill>
                  <a:prstClr val="black"/>
                </a:solidFill>
              </a:rPr>
              <a:t>SAP </a:t>
            </a:r>
            <a:r>
              <a:rPr lang="en-US" spc="-4" smtClean="0">
                <a:solidFill>
                  <a:prstClr val="black"/>
                </a:solidFill>
              </a:rPr>
              <a:t>CoE, </a:t>
            </a:r>
            <a:r>
              <a:rPr lang="en-US" spc="-8" smtClean="0">
                <a:solidFill>
                  <a:prstClr val="black"/>
                </a:solidFill>
              </a:rPr>
              <a:t>Slide</a:t>
            </a:r>
            <a:r>
              <a:rPr lang="en-US" spc="-34" smtClean="0">
                <a:solidFill>
                  <a:prstClr val="black"/>
                </a:solidFill>
              </a:rPr>
              <a:t> </a:t>
            </a:r>
            <a:fld id="{81D60167-4931-47E6-BA6A-407CBD079E47}" type="slidenum">
              <a:rPr spc="-4" smtClean="0">
                <a:solidFill>
                  <a:prstClr val="black"/>
                </a:solidFill>
              </a:rPr>
              <a:pPr marL="9525">
                <a:lnSpc>
                  <a:spcPts val="994"/>
                </a:lnSpc>
              </a:pPr>
              <a:t>‹#›</a:t>
            </a:fld>
            <a:endParaRPr sz="900">
              <a:solidFill>
                <a:prstClr val="black"/>
              </a:solidFill>
              <a:latin typeface="Symbol"/>
              <a:cs typeface="Symbol"/>
            </a:endParaRPr>
          </a:p>
        </p:txBody>
      </p:sp>
      <p:sp>
        <p:nvSpPr>
          <p:cNvPr id="9" name="Freeform 4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0" y="67627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endParaRPr lang="fr-FR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154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p:txStyles>
    <p:titleStyle>
      <a:lvl1pPr algn="l">
        <a:defRPr sz="2400" i="1" baseline="0"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indent="-257175">
        <a:buClr>
          <a:srgbClr val="00B0F0"/>
        </a:buClr>
        <a:buFont typeface="Wingdings" panose="05000000000000000000" pitchFamily="2" charset="2"/>
        <a:buChar char="§"/>
        <a:defRPr sz="1650"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image" Target="../media/image31.pn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21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image" Target="../media/image33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13" Type="http://schemas.openxmlformats.org/officeDocument/2006/relationships/image" Target="../media/image74.png"/><Relationship Id="rId18" Type="http://schemas.openxmlformats.org/officeDocument/2006/relationships/image" Target="../media/image79.png"/><Relationship Id="rId3" Type="http://schemas.openxmlformats.org/officeDocument/2006/relationships/image" Target="../media/image64.jpeg"/><Relationship Id="rId7" Type="http://schemas.openxmlformats.org/officeDocument/2006/relationships/image" Target="../media/image68.jpeg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" Type="http://schemas.openxmlformats.org/officeDocument/2006/relationships/image" Target="../media/image60.jpeg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jpeg"/><Relationship Id="rId11" Type="http://schemas.openxmlformats.org/officeDocument/2006/relationships/image" Target="../media/image72.png"/><Relationship Id="rId5" Type="http://schemas.openxmlformats.org/officeDocument/2006/relationships/image" Target="../media/image66.jpeg"/><Relationship Id="rId15" Type="http://schemas.openxmlformats.org/officeDocument/2006/relationships/image" Target="../media/image76.png"/><Relationship Id="rId10" Type="http://schemas.openxmlformats.org/officeDocument/2006/relationships/image" Target="../media/image71.jpeg"/><Relationship Id="rId19" Type="http://schemas.openxmlformats.org/officeDocument/2006/relationships/image" Target="../media/image80.png"/><Relationship Id="rId4" Type="http://schemas.openxmlformats.org/officeDocument/2006/relationships/image" Target="../media/image65.jpeg"/><Relationship Id="rId9" Type="http://schemas.openxmlformats.org/officeDocument/2006/relationships/image" Target="../media/image70.jpeg"/><Relationship Id="rId14" Type="http://schemas.openxmlformats.org/officeDocument/2006/relationships/image" Target="../media/image7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0"/>
          <p:cNvSpPr>
            <a:spLocks noGrp="1"/>
          </p:cNvSpPr>
          <p:nvPr>
            <p:ph type="ctrTitle"/>
          </p:nvPr>
        </p:nvSpPr>
        <p:spPr>
          <a:xfrm>
            <a:off x="1219200" y="3124200"/>
            <a:ext cx="6400800" cy="1107996"/>
          </a:xfrm>
        </p:spPr>
        <p:txBody>
          <a:bodyPr/>
          <a:lstStyle/>
          <a:p>
            <a:pPr eaLnBrk="1" hangingPunct="1"/>
            <a:r>
              <a:rPr lang="en-US" altLang="en-US" sz="3600" dirty="0" smtClean="0"/>
              <a:t>OTC  Sales Process</a:t>
            </a:r>
            <a:endParaRPr lang="en-US" altLang="en-US" sz="3600" dirty="0" smtClean="0"/>
          </a:p>
        </p:txBody>
      </p:sp>
      <p:sp>
        <p:nvSpPr>
          <p:cNvPr id="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7627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endParaRPr lang="fr-FR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5351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6790953" y="970026"/>
            <a:ext cx="29400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80670" algn="l"/>
              </a:tabLst>
            </a:pPr>
            <a:r>
              <a:rPr sz="1600" b="1" u="heavy" spc="-5" dirty="0">
                <a:latin typeface="Arial"/>
                <a:cs typeface="Arial"/>
              </a:rPr>
              <a:t> 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ales</a:t>
            </a:r>
            <a:r>
              <a:rPr spc="-85" dirty="0"/>
              <a:t> </a:t>
            </a:r>
            <a:r>
              <a:rPr dirty="0"/>
              <a:t>Order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304800" y="1495233"/>
            <a:ext cx="8250555" cy="27084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65024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ales order is a contractual agreement </a:t>
            </a:r>
            <a:r>
              <a:rPr sz="2200" spc="5" dirty="0">
                <a:latin typeface="Arial"/>
                <a:cs typeface="Arial"/>
              </a:rPr>
              <a:t>between </a:t>
            </a:r>
            <a:r>
              <a:rPr sz="2200" spc="-5" dirty="0">
                <a:latin typeface="Arial"/>
                <a:cs typeface="Arial"/>
              </a:rPr>
              <a:t>a </a:t>
            </a:r>
            <a:r>
              <a:rPr sz="2200" dirty="0">
                <a:latin typeface="Arial"/>
                <a:cs typeface="Arial"/>
              </a:rPr>
              <a:t>organization and </a:t>
            </a:r>
            <a:r>
              <a:rPr sz="2200" spc="-5" dirty="0">
                <a:latin typeface="Arial"/>
                <a:cs typeface="Arial"/>
              </a:rPr>
              <a:t>a  customer </a:t>
            </a:r>
            <a:r>
              <a:rPr sz="2200" dirty="0">
                <a:latin typeface="Arial"/>
                <a:cs typeface="Arial"/>
              </a:rPr>
              <a:t>about </a:t>
            </a:r>
            <a:r>
              <a:rPr sz="2200" spc="-5" dirty="0">
                <a:latin typeface="Arial"/>
                <a:cs typeface="Arial"/>
              </a:rPr>
              <a:t>delivering </a:t>
            </a:r>
            <a:r>
              <a:rPr sz="2200" dirty="0">
                <a:latin typeface="Arial"/>
                <a:cs typeface="Arial"/>
              </a:rPr>
              <a:t>products </a:t>
            </a:r>
            <a:r>
              <a:rPr sz="2200" spc="-5" dirty="0">
                <a:latin typeface="Arial"/>
                <a:cs typeface="Arial"/>
              </a:rPr>
              <a:t>or providing a </a:t>
            </a:r>
            <a:r>
              <a:rPr sz="2200" spc="-10" dirty="0">
                <a:latin typeface="Arial"/>
                <a:cs typeface="Arial"/>
              </a:rPr>
              <a:t>service </a:t>
            </a:r>
            <a:r>
              <a:rPr sz="2200" spc="-5" dirty="0">
                <a:latin typeface="Arial"/>
                <a:cs typeface="Arial"/>
              </a:rPr>
              <a:t>for </a:t>
            </a:r>
            <a:r>
              <a:rPr sz="2200" dirty="0">
                <a:latin typeface="Arial"/>
                <a:cs typeface="Arial"/>
              </a:rPr>
              <a:t>defined  </a:t>
            </a:r>
            <a:r>
              <a:rPr sz="2200" spc="-5" dirty="0">
                <a:latin typeface="Arial"/>
                <a:cs typeface="Arial"/>
              </a:rPr>
              <a:t>prices, </a:t>
            </a:r>
            <a:r>
              <a:rPr sz="2200" dirty="0">
                <a:latin typeface="Arial"/>
                <a:cs typeface="Arial"/>
              </a:rPr>
              <a:t>quantities and</a:t>
            </a:r>
            <a:r>
              <a:rPr sz="2200" spc="-8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times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4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ales Orders normally </a:t>
            </a:r>
            <a:r>
              <a:rPr sz="2200" dirty="0">
                <a:latin typeface="Arial"/>
                <a:cs typeface="Arial"/>
              </a:rPr>
              <a:t>contain </a:t>
            </a:r>
            <a:r>
              <a:rPr sz="2200" spc="-5" dirty="0">
                <a:latin typeface="Arial"/>
                <a:cs typeface="Arial"/>
              </a:rPr>
              <a:t>information </a:t>
            </a:r>
            <a:r>
              <a:rPr sz="2200" dirty="0">
                <a:latin typeface="Arial"/>
                <a:cs typeface="Arial"/>
              </a:rPr>
              <a:t>on </a:t>
            </a:r>
            <a:r>
              <a:rPr sz="2200" spc="-15" dirty="0">
                <a:latin typeface="Arial"/>
                <a:cs typeface="Arial"/>
              </a:rPr>
              <a:t>Customer, </a:t>
            </a:r>
            <a:r>
              <a:rPr sz="2200" spc="-5" dirty="0">
                <a:latin typeface="Arial"/>
                <a:cs typeface="Arial"/>
              </a:rPr>
              <a:t>Material, customer  material </a:t>
            </a:r>
            <a:r>
              <a:rPr sz="2200" dirty="0">
                <a:latin typeface="Arial"/>
                <a:cs typeface="Arial"/>
              </a:rPr>
              <a:t>information, </a:t>
            </a:r>
            <a:r>
              <a:rPr sz="2200" spc="-5" dirty="0">
                <a:latin typeface="Arial"/>
                <a:cs typeface="Arial"/>
              </a:rPr>
              <a:t>Pricing </a:t>
            </a:r>
            <a:r>
              <a:rPr sz="2200" dirty="0">
                <a:latin typeface="Arial"/>
                <a:cs typeface="Arial"/>
              </a:rPr>
              <a:t>conditions </a:t>
            </a:r>
            <a:r>
              <a:rPr sz="2200" spc="-5" dirty="0">
                <a:latin typeface="Arial"/>
                <a:cs typeface="Arial"/>
              </a:rPr>
              <a:t>for each item, </a:t>
            </a:r>
            <a:r>
              <a:rPr sz="2200" spc="-10" dirty="0">
                <a:latin typeface="Arial"/>
                <a:cs typeface="Arial"/>
              </a:rPr>
              <a:t>Delivery </a:t>
            </a:r>
            <a:r>
              <a:rPr sz="2200" spc="-5" dirty="0">
                <a:latin typeface="Arial"/>
                <a:cs typeface="Arial"/>
              </a:rPr>
              <a:t>dates </a:t>
            </a:r>
            <a:r>
              <a:rPr sz="2200" dirty="0">
                <a:latin typeface="Arial"/>
                <a:cs typeface="Arial"/>
              </a:rPr>
              <a:t>and  quantities </a:t>
            </a:r>
            <a:r>
              <a:rPr sz="2200" spc="-5" dirty="0">
                <a:latin typeface="Arial"/>
                <a:cs typeface="Arial"/>
              </a:rPr>
              <a:t>for each item, </a:t>
            </a:r>
            <a:r>
              <a:rPr sz="2200" dirty="0">
                <a:latin typeface="Arial"/>
                <a:cs typeface="Arial"/>
              </a:rPr>
              <a:t>Shipping </a:t>
            </a:r>
            <a:r>
              <a:rPr sz="2200" spc="-5" dirty="0">
                <a:latin typeface="Arial"/>
                <a:cs typeface="Arial"/>
              </a:rPr>
              <a:t>processing </a:t>
            </a:r>
            <a:r>
              <a:rPr sz="2200" dirty="0">
                <a:latin typeface="Arial"/>
                <a:cs typeface="Arial"/>
              </a:rPr>
              <a:t>information and Billing </a:t>
            </a:r>
            <a:r>
              <a:rPr sz="2200" dirty="0" smtClean="0">
                <a:latin typeface="Arial"/>
                <a:cs typeface="Arial"/>
              </a:rPr>
              <a:t>information</a:t>
            </a:r>
            <a:endParaRPr sz="2200" dirty="0">
              <a:latin typeface="Arial"/>
              <a:cs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96000" y="4236649"/>
            <a:ext cx="2658845" cy="200428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83540" y="1547114"/>
            <a:ext cx="4371975" cy="21852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All sales documents have basically the  same structure.</a:t>
            </a:r>
          </a:p>
          <a:p>
            <a:pPr marL="342900" indent="-342900">
              <a:lnSpc>
                <a:spcPct val="100000"/>
              </a:lnSpc>
              <a:spcBef>
                <a:spcPts val="4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spc="-5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y are made up of:</a:t>
            </a:r>
          </a:p>
          <a:p>
            <a:pPr marL="927100" indent="-457200">
              <a:lnSpc>
                <a:spcPct val="100000"/>
              </a:lnSpc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927100" algn="l"/>
                <a:tab pos="927735" algn="l"/>
              </a:tabLst>
            </a:pPr>
            <a:r>
              <a:rPr spc="-5" dirty="0">
                <a:latin typeface="Arial"/>
                <a:cs typeface="Arial"/>
              </a:rPr>
              <a:t>Header</a:t>
            </a:r>
          </a:p>
          <a:p>
            <a:pPr marL="927100" indent="-457200">
              <a:lnSpc>
                <a:spcPct val="100000"/>
              </a:lnSpc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927100" algn="l"/>
                <a:tab pos="927735" algn="l"/>
              </a:tabLst>
            </a:pPr>
            <a:r>
              <a:rPr spc="-5" dirty="0">
                <a:latin typeface="Arial"/>
                <a:cs typeface="Arial"/>
              </a:rPr>
              <a:t>Item</a:t>
            </a:r>
          </a:p>
          <a:p>
            <a:pPr marL="905510" indent="-435609">
              <a:lnSpc>
                <a:spcPct val="100000"/>
              </a:lnSpc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905510" algn="l"/>
                <a:tab pos="906144" algn="l"/>
              </a:tabLst>
            </a:pPr>
            <a:r>
              <a:rPr spc="-5" dirty="0">
                <a:latin typeface="Arial"/>
                <a:cs typeface="Arial"/>
              </a:rPr>
              <a:t>Schedule Line</a:t>
            </a:r>
          </a:p>
        </p:txBody>
      </p:sp>
      <p:sp>
        <p:nvSpPr>
          <p:cNvPr id="3" name="object 3"/>
          <p:cNvSpPr/>
          <p:nvPr/>
        </p:nvSpPr>
        <p:spPr>
          <a:xfrm>
            <a:off x="5105400" y="1504950"/>
            <a:ext cx="3583304" cy="4572000"/>
          </a:xfrm>
          <a:custGeom>
            <a:avLst/>
            <a:gdLst/>
            <a:ahLst/>
            <a:cxnLst/>
            <a:rect l="l" t="t" r="r" b="b"/>
            <a:pathLst>
              <a:path w="3583304" h="4572000">
                <a:moveTo>
                  <a:pt x="3583051" y="0"/>
                </a:moveTo>
                <a:lnTo>
                  <a:pt x="0" y="0"/>
                </a:lnTo>
                <a:lnTo>
                  <a:pt x="0" y="4572000"/>
                </a:lnTo>
                <a:lnTo>
                  <a:pt x="3135122" y="4572000"/>
                </a:lnTo>
                <a:lnTo>
                  <a:pt x="3583051" y="4124121"/>
                </a:lnTo>
                <a:lnTo>
                  <a:pt x="3583051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240521" y="5629071"/>
            <a:ext cx="448309" cy="448309"/>
          </a:xfrm>
          <a:custGeom>
            <a:avLst/>
            <a:gdLst/>
            <a:ahLst/>
            <a:cxnLst/>
            <a:rect l="l" t="t" r="r" b="b"/>
            <a:pathLst>
              <a:path w="448309" h="448310">
                <a:moveTo>
                  <a:pt x="447928" y="0"/>
                </a:moveTo>
                <a:lnTo>
                  <a:pt x="89534" y="89573"/>
                </a:lnTo>
                <a:lnTo>
                  <a:pt x="0" y="447878"/>
                </a:lnTo>
                <a:lnTo>
                  <a:pt x="447928" y="0"/>
                </a:lnTo>
                <a:close/>
              </a:path>
            </a:pathLst>
          </a:custGeom>
          <a:solidFill>
            <a:srgbClr val="A3A3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105400" y="1504950"/>
            <a:ext cx="3583304" cy="4572000"/>
          </a:xfrm>
          <a:custGeom>
            <a:avLst/>
            <a:gdLst/>
            <a:ahLst/>
            <a:cxnLst/>
            <a:rect l="l" t="t" r="r" b="b"/>
            <a:pathLst>
              <a:path w="3583304" h="4572000">
                <a:moveTo>
                  <a:pt x="3135122" y="4572000"/>
                </a:moveTo>
                <a:lnTo>
                  <a:pt x="3224656" y="4213694"/>
                </a:lnTo>
                <a:lnTo>
                  <a:pt x="3583051" y="4124121"/>
                </a:lnTo>
                <a:lnTo>
                  <a:pt x="3135122" y="4572000"/>
                </a:lnTo>
                <a:lnTo>
                  <a:pt x="0" y="4572000"/>
                </a:lnTo>
                <a:lnTo>
                  <a:pt x="0" y="0"/>
                </a:lnTo>
                <a:lnTo>
                  <a:pt x="3583051" y="0"/>
                </a:lnTo>
                <a:lnTo>
                  <a:pt x="3583051" y="412412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232400" y="2255773"/>
            <a:ext cx="3281679" cy="914400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17780" rIns="0" bIns="0" rtlCol="0">
            <a:spAutoFit/>
          </a:bodyPr>
          <a:lstStyle/>
          <a:p>
            <a:pPr marL="212725">
              <a:lnSpc>
                <a:spcPct val="100000"/>
              </a:lnSpc>
              <a:spcBef>
                <a:spcPts val="140"/>
              </a:spcBef>
            </a:pPr>
            <a:r>
              <a:rPr sz="2400" dirty="0">
                <a:latin typeface="Times New Roman"/>
                <a:cs typeface="Times New Roman"/>
              </a:rPr>
              <a:t>Head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132451" y="1613153"/>
            <a:ext cx="342011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908685" algn="l"/>
                <a:tab pos="3406775" algn="l"/>
              </a:tabLst>
            </a:pPr>
            <a:r>
              <a:rPr sz="2800" u="sng" spc="-5" dirty="0">
                <a:latin typeface="Times New Roman"/>
                <a:cs typeface="Times New Roman"/>
              </a:rPr>
              <a:t> 	Sales</a:t>
            </a:r>
            <a:r>
              <a:rPr sz="2800" u="sng" spc="-90" dirty="0">
                <a:latin typeface="Times New Roman"/>
                <a:cs typeface="Times New Roman"/>
              </a:rPr>
              <a:t> </a:t>
            </a:r>
            <a:r>
              <a:rPr sz="2800" u="sng" dirty="0">
                <a:latin typeface="Times New Roman"/>
                <a:cs typeface="Times New Roman"/>
              </a:rPr>
              <a:t>Order	</a:t>
            </a:r>
            <a:endParaRPr sz="280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457825" y="3282950"/>
            <a:ext cx="3056255" cy="72707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5715" rIns="0" bIns="0" rtlCol="0">
            <a:spAutoFit/>
          </a:bodyPr>
          <a:lstStyle/>
          <a:p>
            <a:pPr marL="271145">
              <a:lnSpc>
                <a:spcPct val="100000"/>
              </a:lnSpc>
              <a:spcBef>
                <a:spcPts val="45"/>
              </a:spcBef>
            </a:pPr>
            <a:r>
              <a:rPr sz="2000" dirty="0">
                <a:latin typeface="Times New Roman"/>
                <a:cs typeface="Times New Roman"/>
              </a:rPr>
              <a:t>Item</a:t>
            </a:r>
            <a:r>
              <a:rPr sz="2000" spc="-12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1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886450" y="3682936"/>
            <a:ext cx="2530475" cy="28765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17475">
              <a:lnSpc>
                <a:spcPts val="1905"/>
              </a:lnSpc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799201" y="4249673"/>
            <a:ext cx="678815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Item</a:t>
            </a:r>
            <a:r>
              <a:rPr sz="2000" spc="-12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2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886450" y="4549711"/>
            <a:ext cx="2530475" cy="28765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17475">
              <a:lnSpc>
                <a:spcPts val="2014"/>
              </a:lnSpc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886450" y="4902136"/>
            <a:ext cx="2530475" cy="28765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17475">
              <a:lnSpc>
                <a:spcPts val="2030"/>
              </a:lnSpc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886450" y="5243512"/>
            <a:ext cx="2530475" cy="28765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17475">
              <a:lnSpc>
                <a:spcPts val="2115"/>
              </a:lnSpc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470525" y="4122801"/>
            <a:ext cx="3030855" cy="1627505"/>
          </a:xfrm>
          <a:custGeom>
            <a:avLst/>
            <a:gdLst/>
            <a:ahLst/>
            <a:cxnLst/>
            <a:rect l="l" t="t" r="r" b="b"/>
            <a:pathLst>
              <a:path w="3030854" h="1627504">
                <a:moveTo>
                  <a:pt x="0" y="1627124"/>
                </a:moveTo>
                <a:lnTo>
                  <a:pt x="3030601" y="1627124"/>
                </a:lnTo>
                <a:lnTo>
                  <a:pt x="3030601" y="0"/>
                </a:lnTo>
                <a:lnTo>
                  <a:pt x="0" y="0"/>
                </a:lnTo>
                <a:lnTo>
                  <a:pt x="0" y="1627124"/>
                </a:lnTo>
                <a:close/>
              </a:path>
            </a:pathLst>
          </a:custGeom>
          <a:ln w="9525">
            <a:solidFill>
              <a:srgbClr val="3333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ales Order -</a:t>
            </a:r>
            <a:r>
              <a:rPr spc="-75" dirty="0"/>
              <a:t> </a:t>
            </a:r>
            <a:r>
              <a:rPr dirty="0"/>
              <a:t>Structu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486400" y="1371600"/>
            <a:ext cx="3430904" cy="4438650"/>
          </a:xfrm>
          <a:custGeom>
            <a:avLst/>
            <a:gdLst/>
            <a:ahLst/>
            <a:cxnLst/>
            <a:rect l="l" t="t" r="r" b="b"/>
            <a:pathLst>
              <a:path w="3430904" h="4438650">
                <a:moveTo>
                  <a:pt x="3430651" y="0"/>
                </a:moveTo>
                <a:lnTo>
                  <a:pt x="0" y="0"/>
                </a:lnTo>
                <a:lnTo>
                  <a:pt x="0" y="4438650"/>
                </a:lnTo>
                <a:lnTo>
                  <a:pt x="3001772" y="4438650"/>
                </a:lnTo>
                <a:lnTo>
                  <a:pt x="3430651" y="4009771"/>
                </a:lnTo>
                <a:lnTo>
                  <a:pt x="3430651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8488171" y="5381371"/>
            <a:ext cx="429259" cy="429259"/>
          </a:xfrm>
          <a:custGeom>
            <a:avLst/>
            <a:gdLst/>
            <a:ahLst/>
            <a:cxnLst/>
            <a:rect l="l" t="t" r="r" b="b"/>
            <a:pathLst>
              <a:path w="429259" h="429260">
                <a:moveTo>
                  <a:pt x="428878" y="0"/>
                </a:moveTo>
                <a:lnTo>
                  <a:pt x="85725" y="85851"/>
                </a:lnTo>
                <a:lnTo>
                  <a:pt x="0" y="428878"/>
                </a:lnTo>
                <a:lnTo>
                  <a:pt x="428878" y="0"/>
                </a:lnTo>
                <a:close/>
              </a:path>
            </a:pathLst>
          </a:custGeom>
          <a:solidFill>
            <a:srgbClr val="A3A3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486400" y="1371600"/>
            <a:ext cx="3430904" cy="4438650"/>
          </a:xfrm>
          <a:custGeom>
            <a:avLst/>
            <a:gdLst/>
            <a:ahLst/>
            <a:cxnLst/>
            <a:rect l="l" t="t" r="r" b="b"/>
            <a:pathLst>
              <a:path w="3430904" h="4438650">
                <a:moveTo>
                  <a:pt x="3001772" y="4438650"/>
                </a:moveTo>
                <a:lnTo>
                  <a:pt x="3087497" y="4095623"/>
                </a:lnTo>
                <a:lnTo>
                  <a:pt x="3430651" y="4009771"/>
                </a:lnTo>
                <a:lnTo>
                  <a:pt x="3001772" y="4438650"/>
                </a:lnTo>
                <a:lnTo>
                  <a:pt x="0" y="4438650"/>
                </a:lnTo>
                <a:lnTo>
                  <a:pt x="0" y="0"/>
                </a:lnTo>
                <a:lnTo>
                  <a:pt x="3430651" y="0"/>
                </a:lnTo>
                <a:lnTo>
                  <a:pt x="3430651" y="400977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654675" y="2122487"/>
            <a:ext cx="3088005" cy="887730"/>
          </a:xfrm>
          <a:custGeom>
            <a:avLst/>
            <a:gdLst/>
            <a:ahLst/>
            <a:cxnLst/>
            <a:rect l="l" t="t" r="r" b="b"/>
            <a:pathLst>
              <a:path w="3088004" h="887730">
                <a:moveTo>
                  <a:pt x="0" y="887412"/>
                </a:moveTo>
                <a:lnTo>
                  <a:pt x="3087751" y="887412"/>
                </a:lnTo>
                <a:lnTo>
                  <a:pt x="3087751" y="0"/>
                </a:lnTo>
                <a:lnTo>
                  <a:pt x="0" y="0"/>
                </a:lnTo>
                <a:lnTo>
                  <a:pt x="0" y="887412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654675" y="2122487"/>
            <a:ext cx="3088005" cy="887730"/>
          </a:xfrm>
          <a:custGeom>
            <a:avLst/>
            <a:gdLst/>
            <a:ahLst/>
            <a:cxnLst/>
            <a:rect l="l" t="t" r="r" b="b"/>
            <a:pathLst>
              <a:path w="3088004" h="887730">
                <a:moveTo>
                  <a:pt x="0" y="887412"/>
                </a:moveTo>
                <a:lnTo>
                  <a:pt x="3087751" y="887412"/>
                </a:lnTo>
                <a:lnTo>
                  <a:pt x="3087751" y="0"/>
                </a:lnTo>
                <a:lnTo>
                  <a:pt x="0" y="0"/>
                </a:lnTo>
                <a:lnTo>
                  <a:pt x="0" y="887412"/>
                </a:lnTo>
                <a:close/>
              </a:path>
            </a:pathLst>
          </a:custGeom>
          <a:ln w="9525">
            <a:solidFill>
              <a:srgbClr val="3333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56717" y="1411478"/>
            <a:ext cx="4811395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 data in the document header is valid for  the entire document. This data is primarily  customer related </a:t>
            </a:r>
            <a:r>
              <a:rPr sz="2200" spc="-5" dirty="0" smtClean="0">
                <a:latin typeface="Arial"/>
                <a:cs typeface="Arial"/>
              </a:rPr>
              <a:t>data</a:t>
            </a:r>
            <a:endParaRPr sz="2200" spc="-5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76051" y="2926333"/>
            <a:ext cx="3914140" cy="30469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For example,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Sold-to Party, Ship-to party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Purchase Order Number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Sales Area Data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Payment Terms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Pricing elements for the entire  document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Order Status</a:t>
            </a:r>
          </a:p>
        </p:txBody>
      </p:sp>
      <p:sp>
        <p:nvSpPr>
          <p:cNvPr id="9" name="object 9"/>
          <p:cNvSpPr/>
          <p:nvPr/>
        </p:nvSpPr>
        <p:spPr>
          <a:xfrm>
            <a:off x="6141720" y="1376172"/>
            <a:ext cx="2141220" cy="58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807452" y="1376172"/>
            <a:ext cx="563879" cy="58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351778" y="1479550"/>
            <a:ext cx="169037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spc="-5" dirty="0">
                <a:latin typeface="Times New Roman"/>
                <a:cs typeface="Times New Roman"/>
              </a:rPr>
              <a:t>Sales</a:t>
            </a:r>
            <a:r>
              <a:rPr sz="2800" spc="-8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Times New Roman"/>
                <a:cs typeface="Times New Roman"/>
              </a:rPr>
              <a:t>Order</a:t>
            </a:r>
            <a:endParaRPr sz="280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859779" y="2145157"/>
            <a:ext cx="880110" cy="3644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870"/>
              </a:lnSpc>
            </a:pPr>
            <a:r>
              <a:rPr sz="2400" dirty="0">
                <a:latin typeface="Times New Roman"/>
                <a:cs typeface="Times New Roman"/>
              </a:rPr>
              <a:t>Head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072378" y="4116196"/>
            <a:ext cx="679450" cy="316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solidFill>
                  <a:srgbClr val="808080"/>
                </a:solidFill>
                <a:latin typeface="Times New Roman"/>
                <a:cs typeface="Times New Roman"/>
              </a:rPr>
              <a:t>Item</a:t>
            </a:r>
            <a:r>
              <a:rPr sz="2000" spc="-125" dirty="0">
                <a:solidFill>
                  <a:srgbClr val="808080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808080"/>
                </a:solidFill>
                <a:latin typeface="Times New Roman"/>
                <a:cs typeface="Times New Roman"/>
              </a:rPr>
              <a:t>2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62751" y="4416425"/>
            <a:ext cx="2383155" cy="279400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55244">
              <a:lnSpc>
                <a:spcPts val="2014"/>
              </a:lnSpc>
            </a:pPr>
            <a:r>
              <a:rPr sz="1800" dirty="0">
                <a:solidFill>
                  <a:srgbClr val="808080"/>
                </a:solidFill>
                <a:latin typeface="Times New Roman"/>
                <a:cs typeface="Times New Roman"/>
              </a:rPr>
              <a:t>Schedule line</a:t>
            </a:r>
            <a:r>
              <a:rPr sz="1800" spc="-120" dirty="0">
                <a:solidFill>
                  <a:srgbClr val="808080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solidFill>
                  <a:srgbClr val="808080"/>
                </a:solidFill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262751" y="4768850"/>
            <a:ext cx="2383155" cy="279400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55244">
              <a:lnSpc>
                <a:spcPts val="2030"/>
              </a:lnSpc>
            </a:pPr>
            <a:r>
              <a:rPr sz="1800" dirty="0">
                <a:solidFill>
                  <a:srgbClr val="808080"/>
                </a:solidFill>
                <a:latin typeface="Times New Roman"/>
                <a:cs typeface="Times New Roman"/>
              </a:rPr>
              <a:t>Schedule line</a:t>
            </a:r>
            <a:r>
              <a:rPr sz="1800" spc="-120" dirty="0">
                <a:solidFill>
                  <a:srgbClr val="808080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solidFill>
                  <a:srgbClr val="808080"/>
                </a:solidFill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262751" y="5110226"/>
            <a:ext cx="2383155" cy="279400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55244">
              <a:lnSpc>
                <a:spcPts val="2120"/>
              </a:lnSpc>
            </a:pPr>
            <a:r>
              <a:rPr sz="1800" dirty="0">
                <a:solidFill>
                  <a:srgbClr val="808080"/>
                </a:solidFill>
                <a:latin typeface="Times New Roman"/>
                <a:cs typeface="Times New Roman"/>
              </a:rPr>
              <a:t>Schedule line</a:t>
            </a:r>
            <a:r>
              <a:rPr sz="1800" spc="-120" dirty="0">
                <a:solidFill>
                  <a:srgbClr val="808080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solidFill>
                  <a:srgbClr val="808080"/>
                </a:solidFill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573776" y="1947926"/>
            <a:ext cx="3194050" cy="1905"/>
          </a:xfrm>
          <a:custGeom>
            <a:avLst/>
            <a:gdLst/>
            <a:ahLst/>
            <a:cxnLst/>
            <a:rect l="l" t="t" r="r" b="b"/>
            <a:pathLst>
              <a:path w="3194050" h="1905">
                <a:moveTo>
                  <a:pt x="0" y="1524"/>
                </a:moveTo>
                <a:lnTo>
                  <a:pt x="319405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876925" y="3989451"/>
            <a:ext cx="2853055" cy="1579880"/>
          </a:xfrm>
          <a:custGeom>
            <a:avLst/>
            <a:gdLst/>
            <a:ahLst/>
            <a:cxnLst/>
            <a:rect l="l" t="t" r="r" b="b"/>
            <a:pathLst>
              <a:path w="2853054" h="1579879">
                <a:moveTo>
                  <a:pt x="0" y="1579499"/>
                </a:moveTo>
                <a:lnTo>
                  <a:pt x="2852801" y="1579499"/>
                </a:lnTo>
                <a:lnTo>
                  <a:pt x="2852801" y="0"/>
                </a:lnTo>
                <a:lnTo>
                  <a:pt x="0" y="0"/>
                </a:lnTo>
                <a:lnTo>
                  <a:pt x="0" y="1579499"/>
                </a:lnTo>
                <a:close/>
              </a:path>
            </a:pathLst>
          </a:custGeom>
          <a:ln w="9525">
            <a:solidFill>
              <a:srgbClr val="3333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9" name="object 19"/>
          <p:cNvGraphicFramePr>
            <a:graphicFrameLocks noGrp="1"/>
          </p:cNvGraphicFramePr>
          <p:nvPr/>
        </p:nvGraphicFramePr>
        <p:xfrm>
          <a:off x="5862637" y="3144901"/>
          <a:ext cx="2875024" cy="7047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5350"/>
                <a:gridCol w="2382774"/>
                <a:gridCol w="96900"/>
              </a:tblGrid>
              <a:tr h="399986">
                <a:tc gridSpan="3">
                  <a:txBody>
                    <a:bodyPr/>
                    <a:lstStyle/>
                    <a:p>
                      <a:pPr marL="13462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sz="200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Item</a:t>
                      </a:r>
                      <a:r>
                        <a:rPr sz="2000" spc="-13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1</a:t>
                      </a: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T w="9525">
                      <a:solidFill>
                        <a:srgbClr val="3333CC"/>
                      </a:solidFill>
                      <a:prstDash val="solid"/>
                    </a:lnT>
                    <a:solidFill>
                      <a:srgbClr val="CC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92925">
                <a:tc>
                  <a:txBody>
                    <a:bodyPr/>
                    <a:lstStyle/>
                    <a:p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B w="9525">
                      <a:solidFill>
                        <a:srgbClr val="3333CC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55244">
                        <a:lnSpc>
                          <a:spcPts val="1905"/>
                        </a:lnSpc>
                      </a:pPr>
                      <a:r>
                        <a:rPr sz="1800" spc="-5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Schedule </a:t>
                      </a:r>
                      <a:r>
                        <a:rPr sz="180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line</a:t>
                      </a:r>
                      <a:r>
                        <a:rPr sz="1800" spc="-85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80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1</a:t>
                      </a:r>
                      <a:endParaRPr sz="1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T w="9525">
                      <a:solidFill>
                        <a:srgbClr val="3333CC"/>
                      </a:solidFill>
                      <a:prstDash val="solid"/>
                    </a:lnT>
                    <a:lnB w="36575">
                      <a:solidFill>
                        <a:srgbClr val="3333CC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endParaRPr sz="1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B w="9525">
                      <a:solidFill>
                        <a:srgbClr val="3333CC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20" name="object 20"/>
          <p:cNvSpPr txBox="1"/>
          <p:nvPr/>
        </p:nvSpPr>
        <p:spPr>
          <a:xfrm>
            <a:off x="7359460" y="2499614"/>
            <a:ext cx="1179195" cy="121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55"/>
              </a:lnSpc>
            </a:pPr>
            <a:r>
              <a:rPr sz="800" spc="-5" dirty="0">
                <a:latin typeface="Times New Roman"/>
                <a:cs typeface="Times New Roman"/>
              </a:rPr>
              <a:t>Req. Delivery Date:</a:t>
            </a:r>
            <a:r>
              <a:rPr sz="800" spc="140" dirty="0">
                <a:latin typeface="Times New Roman"/>
                <a:cs typeface="Times New Roman"/>
              </a:rPr>
              <a:t> </a:t>
            </a:r>
            <a:r>
              <a:rPr sz="800" dirty="0">
                <a:latin typeface="Times New Roman"/>
                <a:cs typeface="Times New Roman"/>
              </a:rPr>
              <a:t>7/28/00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988430" y="2499614"/>
            <a:ext cx="561975" cy="243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800" spc="-5" dirty="0">
                <a:latin typeface="Times New Roman"/>
                <a:cs typeface="Times New Roman"/>
              </a:rPr>
              <a:t>Sold-to</a:t>
            </a:r>
            <a:r>
              <a:rPr sz="800" spc="-60" dirty="0">
                <a:latin typeface="Times New Roman"/>
                <a:cs typeface="Times New Roman"/>
              </a:rPr>
              <a:t> </a:t>
            </a:r>
            <a:r>
              <a:rPr sz="800" spc="-5" dirty="0">
                <a:latin typeface="Times New Roman"/>
                <a:cs typeface="Times New Roman"/>
              </a:rPr>
              <a:t>party:  </a:t>
            </a:r>
            <a:r>
              <a:rPr sz="800" dirty="0">
                <a:latin typeface="Times New Roman"/>
                <a:cs typeface="Times New Roman"/>
              </a:rPr>
              <a:t>Ship-to</a:t>
            </a:r>
            <a:r>
              <a:rPr sz="800" spc="-110" dirty="0">
                <a:latin typeface="Times New Roman"/>
                <a:cs typeface="Times New Roman"/>
              </a:rPr>
              <a:t> </a:t>
            </a:r>
            <a:r>
              <a:rPr sz="800" spc="-5" dirty="0">
                <a:latin typeface="Times New Roman"/>
                <a:cs typeface="Times New Roman"/>
              </a:rPr>
              <a:t>party: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649401" y="2499614"/>
            <a:ext cx="361315" cy="243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800" dirty="0">
                <a:latin typeface="Times New Roman"/>
                <a:cs typeface="Times New Roman"/>
              </a:rPr>
              <a:t>1000006</a:t>
            </a:r>
            <a:endParaRPr sz="800">
              <a:latin typeface="Times New Roman"/>
              <a:cs typeface="Times New Roman"/>
            </a:endParaRPr>
          </a:p>
          <a:p>
            <a:pPr>
              <a:lnSpc>
                <a:spcPts val="955"/>
              </a:lnSpc>
            </a:pPr>
            <a:r>
              <a:rPr sz="800" dirty="0">
                <a:latin typeface="Times New Roman"/>
                <a:cs typeface="Times New Roman"/>
              </a:rPr>
              <a:t>1000006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988430" y="2865373"/>
            <a:ext cx="859790" cy="121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55"/>
              </a:lnSpc>
              <a:tabLst>
                <a:tab pos="655955" algn="l"/>
              </a:tabLst>
            </a:pPr>
            <a:r>
              <a:rPr sz="800" dirty="0">
                <a:latin typeface="Times New Roman"/>
                <a:cs typeface="Times New Roman"/>
              </a:rPr>
              <a:t>Cu</a:t>
            </a:r>
            <a:r>
              <a:rPr sz="800" spc="-5" dirty="0">
                <a:latin typeface="Times New Roman"/>
                <a:cs typeface="Times New Roman"/>
              </a:rPr>
              <a:t>rr</a:t>
            </a:r>
            <a:r>
              <a:rPr sz="800" spc="-10" dirty="0">
                <a:latin typeface="Times New Roman"/>
                <a:cs typeface="Times New Roman"/>
              </a:rPr>
              <a:t>e</a:t>
            </a:r>
            <a:r>
              <a:rPr sz="800" dirty="0">
                <a:latin typeface="Times New Roman"/>
                <a:cs typeface="Times New Roman"/>
              </a:rPr>
              <a:t>nc</a:t>
            </a:r>
            <a:r>
              <a:rPr sz="800" spc="-20" dirty="0">
                <a:latin typeface="Times New Roman"/>
                <a:cs typeface="Times New Roman"/>
              </a:rPr>
              <a:t>y</a:t>
            </a:r>
            <a:r>
              <a:rPr sz="800" dirty="0">
                <a:latin typeface="Times New Roman"/>
                <a:cs typeface="Times New Roman"/>
              </a:rPr>
              <a:t>:	</a:t>
            </a:r>
            <a:r>
              <a:rPr sz="800" spc="-5" dirty="0">
                <a:latin typeface="Times New Roman"/>
                <a:cs typeface="Times New Roman"/>
              </a:rPr>
              <a:t>US</a:t>
            </a:r>
            <a:r>
              <a:rPr sz="800" dirty="0">
                <a:latin typeface="Times New Roman"/>
                <a:cs typeface="Times New Roman"/>
              </a:rPr>
              <a:t>D</a:t>
            </a:r>
            <a:endParaRPr sz="800">
              <a:latin typeface="Times New Roman"/>
              <a:cs typeface="Times New Roman"/>
            </a:endParaRPr>
          </a:p>
        </p:txBody>
      </p: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Header</a:t>
            </a:r>
            <a:r>
              <a:rPr spc="-70" dirty="0"/>
              <a:t> </a:t>
            </a:r>
            <a:r>
              <a:rPr dirty="0"/>
              <a:t>Dat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867400" y="1371600"/>
            <a:ext cx="3048000" cy="4419600"/>
          </a:xfrm>
          <a:custGeom>
            <a:avLst/>
            <a:gdLst/>
            <a:ahLst/>
            <a:cxnLst/>
            <a:rect l="l" t="t" r="r" b="b"/>
            <a:pathLst>
              <a:path w="3048000" h="4419600">
                <a:moveTo>
                  <a:pt x="3048000" y="0"/>
                </a:moveTo>
                <a:lnTo>
                  <a:pt x="0" y="0"/>
                </a:lnTo>
                <a:lnTo>
                  <a:pt x="0" y="4419600"/>
                </a:lnTo>
                <a:lnTo>
                  <a:pt x="2667000" y="4419600"/>
                </a:lnTo>
                <a:lnTo>
                  <a:pt x="3048000" y="4038600"/>
                </a:lnTo>
                <a:lnTo>
                  <a:pt x="30480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8534400" y="5410200"/>
            <a:ext cx="381000" cy="381000"/>
          </a:xfrm>
          <a:custGeom>
            <a:avLst/>
            <a:gdLst/>
            <a:ahLst/>
            <a:cxnLst/>
            <a:rect l="l" t="t" r="r" b="b"/>
            <a:pathLst>
              <a:path w="381000" h="381000">
                <a:moveTo>
                  <a:pt x="381000" y="0"/>
                </a:moveTo>
                <a:lnTo>
                  <a:pt x="76200" y="76200"/>
                </a:lnTo>
                <a:lnTo>
                  <a:pt x="0" y="381000"/>
                </a:lnTo>
                <a:lnTo>
                  <a:pt x="381000" y="0"/>
                </a:lnTo>
                <a:close/>
              </a:path>
            </a:pathLst>
          </a:custGeom>
          <a:solidFill>
            <a:srgbClr val="A3A3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867400" y="1371600"/>
            <a:ext cx="3048000" cy="4419600"/>
          </a:xfrm>
          <a:custGeom>
            <a:avLst/>
            <a:gdLst/>
            <a:ahLst/>
            <a:cxnLst/>
            <a:rect l="l" t="t" r="r" b="b"/>
            <a:pathLst>
              <a:path w="3048000" h="4419600">
                <a:moveTo>
                  <a:pt x="2667000" y="4419600"/>
                </a:moveTo>
                <a:lnTo>
                  <a:pt x="2743200" y="4114800"/>
                </a:lnTo>
                <a:lnTo>
                  <a:pt x="3048000" y="4038600"/>
                </a:lnTo>
                <a:lnTo>
                  <a:pt x="2667000" y="4419600"/>
                </a:lnTo>
                <a:lnTo>
                  <a:pt x="0" y="4419600"/>
                </a:lnTo>
                <a:lnTo>
                  <a:pt x="0" y="0"/>
                </a:lnTo>
                <a:lnTo>
                  <a:pt x="3048000" y="0"/>
                </a:lnTo>
                <a:lnTo>
                  <a:pt x="3048000" y="40386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62204" y="1410461"/>
            <a:ext cx="4093845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Item data contain line item relevant  information and is specific to an item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362204" y="2426124"/>
            <a:ext cx="3509126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 item data includes:</a:t>
            </a:r>
          </a:p>
        </p:txBody>
      </p:sp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xfrm>
            <a:off x="892175" y="2885550"/>
            <a:ext cx="7848600" cy="31136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Material number</a:t>
            </a: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Quantity</a:t>
            </a: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Ship-to Party</a:t>
            </a: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 smtClean="0">
                <a:solidFill>
                  <a:schemeClr val="tx1"/>
                </a:solidFill>
                <a:latin typeface="Arial"/>
                <a:cs typeface="Arial"/>
              </a:rPr>
              <a:t>Reason </a:t>
            </a: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for rejection</a:t>
            </a: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Item level text</a:t>
            </a: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Item level status</a:t>
            </a: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kern="1200" spc="-5" dirty="0">
                <a:solidFill>
                  <a:schemeClr val="tx1"/>
                </a:solidFill>
                <a:latin typeface="Arial"/>
                <a:cs typeface="Arial"/>
              </a:rPr>
              <a:t>Plant and storage </a:t>
            </a:r>
            <a:r>
              <a:rPr kern="1200" spc="-5" dirty="0" smtClean="0">
                <a:solidFill>
                  <a:schemeClr val="tx1"/>
                </a:solidFill>
                <a:latin typeface="Arial"/>
                <a:cs typeface="Arial"/>
              </a:rPr>
              <a:t>location</a:t>
            </a:r>
            <a:endParaRPr lang="en-US" kern="1200" spc="-5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lang="en-US" kern="1200" spc="-5" dirty="0">
                <a:solidFill>
                  <a:schemeClr val="tx1"/>
                </a:solidFill>
                <a:latin typeface="Arial"/>
                <a:cs typeface="Arial"/>
              </a:rPr>
              <a:t>Pricing conditions for the individual </a:t>
            </a:r>
            <a:r>
              <a:rPr lang="en-US" kern="1200" spc="-5" dirty="0" smtClean="0">
                <a:solidFill>
                  <a:schemeClr val="tx1"/>
                </a:solidFill>
                <a:latin typeface="Arial"/>
                <a:cs typeface="Arial"/>
              </a:rPr>
              <a:t>items</a:t>
            </a:r>
            <a:endParaRPr lang="en-US" kern="1200" spc="-5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307835" y="1376172"/>
            <a:ext cx="2141219" cy="58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973568" y="1376172"/>
            <a:ext cx="563879" cy="58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996051" y="2122487"/>
            <a:ext cx="2745105" cy="88455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17780" rIns="0" bIns="0" rtlCol="0">
            <a:spAutoFit/>
          </a:bodyPr>
          <a:lstStyle/>
          <a:p>
            <a:pPr marL="176530">
              <a:lnSpc>
                <a:spcPct val="100000"/>
              </a:lnSpc>
              <a:spcBef>
                <a:spcPts val="140"/>
              </a:spcBef>
            </a:pPr>
            <a:r>
              <a:rPr sz="2400" dirty="0">
                <a:solidFill>
                  <a:srgbClr val="808080"/>
                </a:solidFill>
                <a:latin typeface="Times New Roman"/>
                <a:cs typeface="Times New Roman"/>
              </a:rPr>
              <a:t>Head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910262" y="1479550"/>
            <a:ext cx="287401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619760" algn="l"/>
                <a:tab pos="2860675" algn="l"/>
              </a:tabLst>
            </a:pPr>
            <a:r>
              <a:rPr sz="2800" u="sng" spc="-5" dirty="0">
                <a:latin typeface="Times New Roman"/>
                <a:cs typeface="Times New Roman"/>
              </a:rPr>
              <a:t> 	Sales</a:t>
            </a:r>
            <a:r>
              <a:rPr sz="2800" u="sng" spc="-85" dirty="0">
                <a:latin typeface="Times New Roman"/>
                <a:cs typeface="Times New Roman"/>
              </a:rPr>
              <a:t> </a:t>
            </a:r>
            <a:r>
              <a:rPr sz="2800" u="sng" spc="-5" dirty="0">
                <a:latin typeface="Times New Roman"/>
                <a:cs typeface="Times New Roman"/>
              </a:rPr>
              <a:t>Order	</a:t>
            </a:r>
            <a:endParaRPr sz="280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184900" y="3149663"/>
            <a:ext cx="2555875" cy="703580"/>
          </a:xfrm>
          <a:prstGeom prst="rect">
            <a:avLst/>
          </a:prstGeom>
          <a:solidFill>
            <a:srgbClr val="FFFF99"/>
          </a:solidFill>
          <a:ln w="9525">
            <a:solidFill>
              <a:srgbClr val="3333CC"/>
            </a:solidFill>
          </a:ln>
        </p:spPr>
        <p:txBody>
          <a:bodyPr vert="horz" wrap="square" lIns="0" tIns="5715" rIns="0" bIns="0" rtlCol="0">
            <a:spAutoFit/>
          </a:bodyPr>
          <a:lstStyle/>
          <a:p>
            <a:pPr marL="74295">
              <a:lnSpc>
                <a:spcPct val="100000"/>
              </a:lnSpc>
              <a:spcBef>
                <a:spcPts val="45"/>
              </a:spcBef>
            </a:pPr>
            <a:r>
              <a:rPr sz="2000" dirty="0">
                <a:latin typeface="Times New Roman"/>
                <a:cs typeface="Times New Roman"/>
              </a:rPr>
              <a:t>Item</a:t>
            </a:r>
            <a:r>
              <a:rPr sz="2000" spc="-13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1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194425" y="3989451"/>
            <a:ext cx="2533650" cy="1573530"/>
          </a:xfrm>
          <a:prstGeom prst="rect">
            <a:avLst/>
          </a:prstGeom>
          <a:solidFill>
            <a:srgbClr val="FFFF99"/>
          </a:solidFill>
          <a:ln w="9525">
            <a:solidFill>
              <a:srgbClr val="3333CC"/>
            </a:solidFill>
          </a:ln>
        </p:spPr>
        <p:txBody>
          <a:bodyPr vert="horz" wrap="square" lIns="0" tIns="121920" rIns="0" bIns="0" rtlCol="0">
            <a:spAutoFit/>
          </a:bodyPr>
          <a:lstStyle/>
          <a:p>
            <a:pPr marL="64769">
              <a:lnSpc>
                <a:spcPct val="100000"/>
              </a:lnSpc>
              <a:spcBef>
                <a:spcPts val="960"/>
              </a:spcBef>
            </a:pPr>
            <a:r>
              <a:rPr sz="2000" dirty="0">
                <a:latin typeface="Times New Roman"/>
                <a:cs typeface="Times New Roman"/>
              </a:rPr>
              <a:t>Item</a:t>
            </a:r>
            <a:r>
              <a:rPr sz="2000" spc="-13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2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Item</a:t>
            </a:r>
            <a:r>
              <a:rPr spc="-80" dirty="0"/>
              <a:t> </a:t>
            </a:r>
            <a:r>
              <a:rPr dirty="0"/>
              <a:t>Dat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15000" y="1295400"/>
            <a:ext cx="3200400" cy="4495800"/>
          </a:xfrm>
          <a:custGeom>
            <a:avLst/>
            <a:gdLst/>
            <a:ahLst/>
            <a:cxnLst/>
            <a:rect l="l" t="t" r="r" b="b"/>
            <a:pathLst>
              <a:path w="3200400" h="4495800">
                <a:moveTo>
                  <a:pt x="3200400" y="0"/>
                </a:moveTo>
                <a:lnTo>
                  <a:pt x="0" y="0"/>
                </a:lnTo>
                <a:lnTo>
                  <a:pt x="0" y="4495800"/>
                </a:lnTo>
                <a:lnTo>
                  <a:pt x="2800350" y="4495800"/>
                </a:lnTo>
                <a:lnTo>
                  <a:pt x="3200400" y="4095750"/>
                </a:lnTo>
                <a:lnTo>
                  <a:pt x="32004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8515350" y="5391150"/>
            <a:ext cx="400050" cy="400050"/>
          </a:xfrm>
          <a:custGeom>
            <a:avLst/>
            <a:gdLst/>
            <a:ahLst/>
            <a:cxnLst/>
            <a:rect l="l" t="t" r="r" b="b"/>
            <a:pathLst>
              <a:path w="400050" h="400050">
                <a:moveTo>
                  <a:pt x="400050" y="0"/>
                </a:moveTo>
                <a:lnTo>
                  <a:pt x="80009" y="80009"/>
                </a:lnTo>
                <a:lnTo>
                  <a:pt x="0" y="400050"/>
                </a:lnTo>
                <a:lnTo>
                  <a:pt x="400050" y="0"/>
                </a:lnTo>
                <a:close/>
              </a:path>
            </a:pathLst>
          </a:custGeom>
          <a:solidFill>
            <a:srgbClr val="A3A3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715000" y="1295400"/>
            <a:ext cx="3200400" cy="4495800"/>
          </a:xfrm>
          <a:custGeom>
            <a:avLst/>
            <a:gdLst/>
            <a:ahLst/>
            <a:cxnLst/>
            <a:rect l="l" t="t" r="r" b="b"/>
            <a:pathLst>
              <a:path w="3200400" h="4495800">
                <a:moveTo>
                  <a:pt x="2800350" y="4495800"/>
                </a:moveTo>
                <a:lnTo>
                  <a:pt x="2880359" y="4175760"/>
                </a:lnTo>
                <a:lnTo>
                  <a:pt x="3200400" y="4095750"/>
                </a:lnTo>
                <a:lnTo>
                  <a:pt x="2800350" y="4495800"/>
                </a:lnTo>
                <a:lnTo>
                  <a:pt x="0" y="4495800"/>
                </a:lnTo>
                <a:lnTo>
                  <a:pt x="0" y="0"/>
                </a:lnTo>
                <a:lnTo>
                  <a:pt x="3200400" y="0"/>
                </a:lnTo>
                <a:lnTo>
                  <a:pt x="3200400" y="409575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329426" y="4692650"/>
            <a:ext cx="2222500" cy="282575"/>
          </a:xfrm>
          <a:custGeom>
            <a:avLst/>
            <a:gdLst/>
            <a:ahLst/>
            <a:cxnLst/>
            <a:rect l="l" t="t" r="r" b="b"/>
            <a:pathLst>
              <a:path w="2222500" h="282575">
                <a:moveTo>
                  <a:pt x="0" y="282575"/>
                </a:moveTo>
                <a:lnTo>
                  <a:pt x="2222500" y="282575"/>
                </a:lnTo>
                <a:lnTo>
                  <a:pt x="2222500" y="0"/>
                </a:lnTo>
                <a:lnTo>
                  <a:pt x="0" y="0"/>
                </a:lnTo>
                <a:lnTo>
                  <a:pt x="0" y="28257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329426" y="4692650"/>
            <a:ext cx="2222500" cy="282575"/>
          </a:xfrm>
          <a:custGeom>
            <a:avLst/>
            <a:gdLst/>
            <a:ahLst/>
            <a:cxnLst/>
            <a:rect l="l" t="t" r="r" b="b"/>
            <a:pathLst>
              <a:path w="2222500" h="282575">
                <a:moveTo>
                  <a:pt x="0" y="282575"/>
                </a:moveTo>
                <a:lnTo>
                  <a:pt x="2222500" y="282575"/>
                </a:lnTo>
                <a:lnTo>
                  <a:pt x="2222500" y="0"/>
                </a:lnTo>
                <a:lnTo>
                  <a:pt x="0" y="0"/>
                </a:lnTo>
                <a:lnTo>
                  <a:pt x="0" y="282575"/>
                </a:lnTo>
                <a:close/>
              </a:path>
            </a:pathLst>
          </a:custGeom>
          <a:ln w="9525">
            <a:solidFill>
              <a:srgbClr val="3333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329426" y="5034026"/>
            <a:ext cx="2222500" cy="282575"/>
          </a:xfrm>
          <a:custGeom>
            <a:avLst/>
            <a:gdLst/>
            <a:ahLst/>
            <a:cxnLst/>
            <a:rect l="l" t="t" r="r" b="b"/>
            <a:pathLst>
              <a:path w="2222500" h="282575">
                <a:moveTo>
                  <a:pt x="0" y="282575"/>
                </a:moveTo>
                <a:lnTo>
                  <a:pt x="2222500" y="282575"/>
                </a:lnTo>
                <a:lnTo>
                  <a:pt x="2222500" y="0"/>
                </a:lnTo>
                <a:lnTo>
                  <a:pt x="0" y="0"/>
                </a:lnTo>
                <a:lnTo>
                  <a:pt x="0" y="28257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329426" y="5034026"/>
            <a:ext cx="2222500" cy="282575"/>
          </a:xfrm>
          <a:custGeom>
            <a:avLst/>
            <a:gdLst/>
            <a:ahLst/>
            <a:cxnLst/>
            <a:rect l="l" t="t" r="r" b="b"/>
            <a:pathLst>
              <a:path w="2222500" h="282575">
                <a:moveTo>
                  <a:pt x="0" y="282575"/>
                </a:moveTo>
                <a:lnTo>
                  <a:pt x="2222500" y="282575"/>
                </a:lnTo>
                <a:lnTo>
                  <a:pt x="2222500" y="0"/>
                </a:lnTo>
                <a:lnTo>
                  <a:pt x="0" y="0"/>
                </a:lnTo>
                <a:lnTo>
                  <a:pt x="0" y="282575"/>
                </a:lnTo>
                <a:close/>
              </a:path>
            </a:pathLst>
          </a:custGeom>
          <a:ln w="9525">
            <a:solidFill>
              <a:srgbClr val="3333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83540" y="1340230"/>
            <a:ext cx="491236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chedule line contain delivery quantities and  delivery </a:t>
            </a:r>
            <a:r>
              <a:rPr sz="2200" spc="-5" dirty="0" smtClean="0">
                <a:latin typeface="Arial"/>
                <a:cs typeface="Arial"/>
              </a:rPr>
              <a:t>dates</a:t>
            </a:r>
            <a:endParaRPr sz="2200" spc="-5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3540" y="2098362"/>
            <a:ext cx="5001895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In sales documents where delivery data is not </a:t>
            </a:r>
            <a:r>
              <a:rPr sz="2200" spc="-5" dirty="0" smtClean="0">
                <a:latin typeface="Arial"/>
                <a:cs typeface="Arial"/>
              </a:rPr>
              <a:t>relevant</a:t>
            </a:r>
            <a:r>
              <a:rPr sz="2200" spc="-5" dirty="0">
                <a:latin typeface="Arial"/>
                <a:cs typeface="Arial"/>
              </a:rPr>
              <a:t>, for </a:t>
            </a:r>
            <a:r>
              <a:rPr sz="2200" spc="-5" dirty="0" err="1" smtClean="0">
                <a:latin typeface="Arial"/>
                <a:cs typeface="Arial"/>
              </a:rPr>
              <a:t>e</a:t>
            </a:r>
            <a:r>
              <a:rPr lang="en-US" sz="2200" spc="-5" dirty="0" err="1" smtClean="0">
                <a:latin typeface="Arial"/>
                <a:cs typeface="Arial"/>
              </a:rPr>
              <a:t>g</a:t>
            </a:r>
            <a:r>
              <a:rPr sz="2200" spc="-5" dirty="0" smtClean="0">
                <a:latin typeface="Arial"/>
                <a:cs typeface="Arial"/>
              </a:rPr>
              <a:t>, </a:t>
            </a:r>
            <a:r>
              <a:rPr sz="2200" spc="-5" dirty="0">
                <a:latin typeface="Arial"/>
                <a:cs typeface="Arial"/>
              </a:rPr>
              <a:t>contracts, credit </a:t>
            </a:r>
            <a:r>
              <a:rPr lang="en-US" sz="2200" spc="-5" dirty="0" smtClean="0">
                <a:latin typeface="Arial"/>
                <a:cs typeface="Arial"/>
              </a:rPr>
              <a:t>&amp; </a:t>
            </a:r>
            <a:r>
              <a:rPr sz="2200" spc="-5" dirty="0" smtClean="0">
                <a:latin typeface="Arial"/>
                <a:cs typeface="Arial"/>
              </a:rPr>
              <a:t>debit </a:t>
            </a:r>
            <a:r>
              <a:rPr sz="2200" spc="-5" dirty="0">
                <a:latin typeface="Arial"/>
                <a:cs typeface="Arial"/>
              </a:rPr>
              <a:t>memo requests, the system does not  create any schedule </a:t>
            </a:r>
            <a:r>
              <a:rPr sz="2200" spc="-5" dirty="0" smtClean="0">
                <a:latin typeface="Arial"/>
                <a:cs typeface="Arial"/>
              </a:rPr>
              <a:t>lines</a:t>
            </a:r>
            <a:endParaRPr sz="2200" spc="-5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38256" y="3837039"/>
            <a:ext cx="4925060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Every item that is to have an outbound  delivery </a:t>
            </a:r>
            <a:r>
              <a:rPr sz="2200" spc="-5" dirty="0" smtClean="0">
                <a:latin typeface="Arial"/>
                <a:cs typeface="Arial"/>
              </a:rPr>
              <a:t>must </a:t>
            </a:r>
            <a:r>
              <a:rPr sz="2200" spc="-5" dirty="0">
                <a:latin typeface="Arial"/>
                <a:cs typeface="Arial"/>
              </a:rPr>
              <a:t>have at least a single schedule </a:t>
            </a:r>
            <a:r>
              <a:rPr sz="2200" spc="-5" dirty="0" smtClean="0">
                <a:latin typeface="Arial"/>
                <a:cs typeface="Arial"/>
              </a:rPr>
              <a:t>line</a:t>
            </a:r>
            <a:endParaRPr sz="2200" spc="-5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40690" y="5034026"/>
            <a:ext cx="8474710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A single line item in the sales order can </a:t>
            </a:r>
            <a:endParaRPr lang="en-US" sz="2200" spc="-5" dirty="0" smtClean="0">
              <a:latin typeface="Arial"/>
              <a:cs typeface="Arial"/>
            </a:endParaRPr>
          </a:p>
          <a:p>
            <a:pPr marL="12700" marR="5080">
              <a:buClr>
                <a:srgbClr val="00B0F0"/>
              </a:buClr>
            </a:pPr>
            <a:r>
              <a:rPr lang="en-US" sz="2200" spc="-5" dirty="0" smtClean="0">
                <a:latin typeface="Arial"/>
                <a:cs typeface="Arial"/>
              </a:rPr>
              <a:t>    </a:t>
            </a:r>
            <a:r>
              <a:rPr sz="2200" spc="-5" dirty="0" smtClean="0">
                <a:latin typeface="Arial"/>
                <a:cs typeface="Arial"/>
              </a:rPr>
              <a:t>have </a:t>
            </a:r>
            <a:r>
              <a:rPr lang="en-US" sz="2200" spc="-5" dirty="0" smtClean="0">
                <a:latin typeface="Arial"/>
                <a:cs typeface="Arial"/>
              </a:rPr>
              <a:t>multiple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schedule lines, for </a:t>
            </a:r>
            <a:r>
              <a:rPr sz="2200" spc="-5" dirty="0" smtClean="0">
                <a:latin typeface="Arial"/>
                <a:cs typeface="Arial"/>
              </a:rPr>
              <a:t>e</a:t>
            </a:r>
            <a:r>
              <a:rPr lang="en-US" sz="2200" spc="-5" dirty="0" smtClean="0">
                <a:latin typeface="Arial"/>
                <a:cs typeface="Arial"/>
              </a:rPr>
              <a:t>.g.</a:t>
            </a:r>
            <a:r>
              <a:rPr sz="2200" spc="-5" dirty="0" smtClean="0">
                <a:latin typeface="Arial"/>
                <a:cs typeface="Arial"/>
              </a:rPr>
              <a:t>, </a:t>
            </a:r>
            <a:endParaRPr lang="en-US" sz="2200" spc="-5" dirty="0" smtClean="0">
              <a:latin typeface="Arial"/>
              <a:cs typeface="Arial"/>
            </a:endParaRPr>
          </a:p>
          <a:p>
            <a:pPr marL="12700" marR="5080">
              <a:buClr>
                <a:srgbClr val="00B0F0"/>
              </a:buClr>
            </a:pPr>
            <a:r>
              <a:rPr lang="en-US" sz="2200" spc="-5" dirty="0">
                <a:latin typeface="Arial"/>
                <a:cs typeface="Arial"/>
              </a:rPr>
              <a:t> </a:t>
            </a:r>
            <a:r>
              <a:rPr lang="en-US" sz="2200" spc="-5" dirty="0" smtClean="0">
                <a:latin typeface="Arial"/>
                <a:cs typeface="Arial"/>
              </a:rPr>
              <a:t>   </a:t>
            </a:r>
            <a:r>
              <a:rPr sz="2200" spc="-5" dirty="0" smtClean="0">
                <a:latin typeface="Arial"/>
                <a:cs typeface="Arial"/>
              </a:rPr>
              <a:t>when </a:t>
            </a:r>
            <a:r>
              <a:rPr sz="2200" spc="-5" dirty="0">
                <a:latin typeface="Arial"/>
                <a:cs typeface="Arial"/>
              </a:rPr>
              <a:t>the  quantity ordered is to be </a:t>
            </a:r>
            <a:endParaRPr lang="en-US" sz="2200" spc="-5" dirty="0" smtClean="0">
              <a:latin typeface="Arial"/>
              <a:cs typeface="Arial"/>
            </a:endParaRPr>
          </a:p>
          <a:p>
            <a:pPr marL="12700" marR="5080">
              <a:buClr>
                <a:srgbClr val="00B0F0"/>
              </a:buClr>
            </a:pPr>
            <a:r>
              <a:rPr lang="en-US" sz="2200" spc="-5" dirty="0">
                <a:latin typeface="Arial"/>
                <a:cs typeface="Arial"/>
              </a:rPr>
              <a:t> </a:t>
            </a:r>
            <a:r>
              <a:rPr lang="en-US" sz="2200" spc="-5" dirty="0" smtClean="0">
                <a:latin typeface="Arial"/>
                <a:cs typeface="Arial"/>
              </a:rPr>
              <a:t>   </a:t>
            </a:r>
            <a:r>
              <a:rPr sz="2200" spc="-5" dirty="0" smtClean="0">
                <a:latin typeface="Arial"/>
                <a:cs typeface="Arial"/>
              </a:rPr>
              <a:t>delivered in </a:t>
            </a:r>
            <a:r>
              <a:rPr sz="2200" spc="-5" dirty="0">
                <a:latin typeface="Arial"/>
                <a:cs typeface="Arial"/>
              </a:rPr>
              <a:t>several </a:t>
            </a:r>
            <a:r>
              <a:rPr sz="2200" spc="-5" dirty="0" smtClean="0">
                <a:latin typeface="Arial"/>
                <a:cs typeface="Arial"/>
              </a:rPr>
              <a:t>partial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deliveries </a:t>
            </a:r>
            <a:r>
              <a:rPr sz="2200" spc="-5" dirty="0">
                <a:latin typeface="Arial"/>
                <a:cs typeface="Arial"/>
              </a:rPr>
              <a:t>on different </a:t>
            </a:r>
            <a:r>
              <a:rPr sz="2200" spc="-5" dirty="0" smtClean="0">
                <a:latin typeface="Arial"/>
                <a:cs typeface="Arial"/>
              </a:rPr>
              <a:t>dates</a:t>
            </a:r>
            <a:endParaRPr sz="2200" spc="-5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333871" y="1403350"/>
            <a:ext cx="169037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spc="-5" dirty="0">
                <a:latin typeface="Times New Roman"/>
                <a:cs typeface="Times New Roman"/>
              </a:rPr>
              <a:t>Sales</a:t>
            </a:r>
            <a:r>
              <a:rPr sz="2800" spc="-85" dirty="0">
                <a:latin typeface="Times New Roman"/>
                <a:cs typeface="Times New Roman"/>
              </a:rPr>
              <a:t> </a:t>
            </a:r>
            <a:r>
              <a:rPr sz="2800" spc="-5" dirty="0">
                <a:latin typeface="Times New Roman"/>
                <a:cs typeface="Times New Roman"/>
              </a:rPr>
              <a:t>Order</a:t>
            </a:r>
            <a:endParaRPr sz="28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740400" y="2046223"/>
            <a:ext cx="2879725" cy="898525"/>
          </a:xfrm>
          <a:prstGeom prst="rect">
            <a:avLst/>
          </a:prstGeom>
          <a:solidFill>
            <a:srgbClr val="CCCCFF"/>
          </a:solidFill>
          <a:ln w="9525">
            <a:solidFill>
              <a:srgbClr val="3333CC"/>
            </a:solidFill>
          </a:ln>
        </p:spPr>
        <p:txBody>
          <a:bodyPr vert="horz" wrap="square" lIns="0" tIns="17780" rIns="0" bIns="0" rtlCol="0">
            <a:spAutoFit/>
          </a:bodyPr>
          <a:lstStyle/>
          <a:p>
            <a:pPr marL="191770">
              <a:lnSpc>
                <a:spcPct val="100000"/>
              </a:lnSpc>
              <a:spcBef>
                <a:spcPts val="140"/>
              </a:spcBef>
            </a:pPr>
            <a:r>
              <a:rPr sz="2400" dirty="0">
                <a:solidFill>
                  <a:srgbClr val="808080"/>
                </a:solidFill>
                <a:latin typeface="Times New Roman"/>
                <a:cs typeface="Times New Roman"/>
              </a:rPr>
              <a:t>Head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329426" y="4340225"/>
            <a:ext cx="2222500" cy="282575"/>
          </a:xfrm>
          <a:prstGeom prst="rect">
            <a:avLst/>
          </a:prstGeom>
          <a:solidFill>
            <a:srgbClr val="FFFF99"/>
          </a:solidFill>
          <a:ln w="9525">
            <a:solidFill>
              <a:srgbClr val="3333C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2014"/>
              </a:lnSpc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956300" y="3913251"/>
            <a:ext cx="2660650" cy="1600200"/>
          </a:xfrm>
          <a:prstGeom prst="rect">
            <a:avLst/>
          </a:prstGeom>
          <a:ln w="9525">
            <a:solidFill>
              <a:srgbClr val="3333CC"/>
            </a:solidFill>
          </a:ln>
        </p:spPr>
        <p:txBody>
          <a:bodyPr vert="horz" wrap="square" lIns="0" tIns="121920" rIns="0" bIns="0" rtlCol="0">
            <a:spAutoFit/>
          </a:bodyPr>
          <a:lstStyle/>
          <a:p>
            <a:pPr marL="150495">
              <a:lnSpc>
                <a:spcPct val="100000"/>
              </a:lnSpc>
              <a:spcBef>
                <a:spcPts val="960"/>
              </a:spcBef>
            </a:pPr>
            <a:r>
              <a:rPr sz="2000" dirty="0">
                <a:solidFill>
                  <a:srgbClr val="808080"/>
                </a:solidFill>
                <a:latin typeface="Times New Roman"/>
                <a:cs typeface="Times New Roman"/>
              </a:rPr>
              <a:t>Item</a:t>
            </a:r>
            <a:r>
              <a:rPr sz="2000" spc="-130" dirty="0">
                <a:solidFill>
                  <a:srgbClr val="808080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808080"/>
                </a:solidFill>
                <a:latin typeface="Times New Roman"/>
                <a:cs typeface="Times New Roman"/>
              </a:rPr>
              <a:t>2</a:t>
            </a:r>
            <a:endParaRPr sz="2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300">
              <a:latin typeface="Times New Roman"/>
              <a:cs typeface="Times New Roman"/>
            </a:endParaRPr>
          </a:p>
          <a:p>
            <a:pPr marL="410845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  <a:p>
            <a:pPr marL="410845">
              <a:lnSpc>
                <a:spcPct val="100000"/>
              </a:lnSpc>
              <a:spcBef>
                <a:spcPts val="615"/>
              </a:spcBef>
            </a:pPr>
            <a:r>
              <a:rPr sz="1800" dirty="0">
                <a:latin typeface="Times New Roman"/>
                <a:cs typeface="Times New Roman"/>
              </a:rPr>
              <a:t>Schedule lin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1</a:t>
            </a:r>
            <a:endParaRPr sz="1800">
              <a:latin typeface="Times New Roman"/>
              <a:cs typeface="Times New Roman"/>
            </a:endParaRPr>
          </a:p>
        </p:txBody>
      </p:sp>
      <p:graphicFrame>
        <p:nvGraphicFramePr>
          <p:cNvPr id="17" name="object 17"/>
          <p:cNvGraphicFramePr>
            <a:graphicFrameLocks noGrp="1"/>
          </p:cNvGraphicFramePr>
          <p:nvPr/>
        </p:nvGraphicFramePr>
        <p:xfrm>
          <a:off x="5940488" y="3068637"/>
          <a:ext cx="2684399" cy="7048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175"/>
                <a:gridCol w="2222500"/>
                <a:gridCol w="77724"/>
              </a:tblGrid>
              <a:tr h="400050">
                <a:tc gridSpan="3">
                  <a:txBody>
                    <a:bodyPr/>
                    <a:lstStyle/>
                    <a:p>
                      <a:pPr marL="8382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sz="200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Item</a:t>
                      </a:r>
                      <a:r>
                        <a:rPr sz="2000" spc="-13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dirty="0">
                          <a:solidFill>
                            <a:srgbClr val="808080"/>
                          </a:solidFill>
                          <a:latin typeface="Times New Roman"/>
                          <a:cs typeface="Times New Roman"/>
                        </a:rPr>
                        <a:t>1</a:t>
                      </a:r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T w="9525">
                      <a:solidFill>
                        <a:srgbClr val="3333CC"/>
                      </a:solidFill>
                      <a:prstDash val="solid"/>
                    </a:lnT>
                    <a:solidFill>
                      <a:srgbClr val="CC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98450">
                <a:tc>
                  <a:txBody>
                    <a:bodyPr/>
                    <a:lstStyle/>
                    <a:p>
                      <a:endParaRPr sz="2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B w="9525">
                      <a:solidFill>
                        <a:srgbClr val="3333CC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38100">
                        <a:lnSpc>
                          <a:spcPts val="1905"/>
                        </a:lnSpc>
                      </a:pPr>
                      <a:r>
                        <a:rPr sz="1800" dirty="0">
                          <a:latin typeface="Times New Roman"/>
                          <a:cs typeface="Times New Roman"/>
                        </a:rPr>
                        <a:t>Schedule line</a:t>
                      </a:r>
                      <a:r>
                        <a:rPr sz="1800" spc="-120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800" dirty="0">
                          <a:latin typeface="Times New Roman"/>
                          <a:cs typeface="Times New Roman"/>
                        </a:rPr>
                        <a:t>1</a:t>
                      </a:r>
                      <a:endParaRPr sz="1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T w="9525">
                      <a:solidFill>
                        <a:srgbClr val="3333CC"/>
                      </a:solidFill>
                      <a:prstDash val="solid"/>
                    </a:lnT>
                    <a:lnB w="41275">
                      <a:solidFill>
                        <a:srgbClr val="3333CC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endParaRPr sz="1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3333CC"/>
                      </a:solidFill>
                      <a:prstDash val="solid"/>
                    </a:lnL>
                    <a:lnR w="9525">
                      <a:solidFill>
                        <a:srgbClr val="3333CC"/>
                      </a:solidFill>
                      <a:prstDash val="solid"/>
                    </a:lnR>
                    <a:lnB w="9525">
                      <a:solidFill>
                        <a:srgbClr val="3333CC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18" name="object 18"/>
          <p:cNvSpPr/>
          <p:nvPr/>
        </p:nvSpPr>
        <p:spPr>
          <a:xfrm>
            <a:off x="6123432" y="1299972"/>
            <a:ext cx="2141219" cy="583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789164" y="1299972"/>
            <a:ext cx="563879" cy="583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810250" y="1871726"/>
            <a:ext cx="2980055" cy="1905"/>
          </a:xfrm>
          <a:custGeom>
            <a:avLst/>
            <a:gdLst/>
            <a:ahLst/>
            <a:cxnLst/>
            <a:rect l="l" t="t" r="r" b="b"/>
            <a:pathLst>
              <a:path w="2980054" h="1905">
                <a:moveTo>
                  <a:pt x="0" y="1524"/>
                </a:moveTo>
                <a:lnTo>
                  <a:pt x="2979801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080">
              <a:lnSpc>
                <a:spcPct val="100000"/>
              </a:lnSpc>
            </a:pPr>
            <a:r>
              <a:rPr dirty="0"/>
              <a:t>Schedule Line</a:t>
            </a:r>
            <a:r>
              <a:rPr spc="-90" dirty="0"/>
              <a:t> </a:t>
            </a:r>
            <a:r>
              <a:rPr dirty="0"/>
              <a:t>Dat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49465" y="1295400"/>
            <a:ext cx="8582025" cy="4601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During sales order processing, the system carries out basic functions, such  as:</a:t>
            </a: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Determining the delivering plant, Shipping point &amp; Route </a:t>
            </a:r>
            <a:r>
              <a:rPr spc="-5" dirty="0" smtClean="0">
                <a:latin typeface="Arial"/>
                <a:cs typeface="Arial"/>
              </a:rPr>
              <a:t>automatically</a:t>
            </a:r>
            <a:endParaRPr spc="-5" dirty="0">
              <a:latin typeface="Arial"/>
              <a:cs typeface="Arial"/>
            </a:endParaRP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Availability check System’s ability to automatically determine a delivery</a:t>
            </a:r>
          </a:p>
          <a:p>
            <a:pPr marL="469900" marR="33020" lvl="1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tabLst>
                <a:tab pos="696595" algn="l"/>
                <a:tab pos="697865" algn="l"/>
              </a:tabLst>
            </a:pPr>
            <a:r>
              <a:rPr lang="en-US" spc="-5" dirty="0" smtClean="0">
                <a:latin typeface="Arial"/>
                <a:cs typeface="Arial"/>
              </a:rPr>
              <a:t>      </a:t>
            </a:r>
            <a:r>
              <a:rPr spc="-5" dirty="0" smtClean="0">
                <a:latin typeface="Arial"/>
                <a:cs typeface="Arial"/>
              </a:rPr>
              <a:t>(</a:t>
            </a:r>
            <a:r>
              <a:rPr spc="-5" dirty="0">
                <a:latin typeface="Arial"/>
                <a:cs typeface="Arial"/>
              </a:rPr>
              <a:t>promise) date for a sales </a:t>
            </a:r>
            <a:r>
              <a:rPr spc="-5" dirty="0" smtClean="0">
                <a:latin typeface="Arial"/>
                <a:cs typeface="Arial"/>
              </a:rPr>
              <a:t>order</a:t>
            </a:r>
            <a:endParaRPr spc="-5" dirty="0">
              <a:latin typeface="Arial"/>
              <a:cs typeface="Arial"/>
            </a:endParaRP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Delivery Scheduling – determines lead times for delivery </a:t>
            </a:r>
            <a:r>
              <a:rPr spc="-5" dirty="0" smtClean="0">
                <a:latin typeface="Arial"/>
                <a:cs typeface="Arial"/>
              </a:rPr>
              <a:t>processing</a:t>
            </a:r>
            <a:endParaRPr spc="-5" dirty="0">
              <a:latin typeface="Arial"/>
              <a:cs typeface="Arial"/>
            </a:endParaRP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Transfer of </a:t>
            </a:r>
            <a:r>
              <a:rPr spc="-5" dirty="0" smtClean="0">
                <a:latin typeface="Arial"/>
                <a:cs typeface="Arial"/>
              </a:rPr>
              <a:t>requirement</a:t>
            </a:r>
            <a:r>
              <a:rPr lang="en-US" spc="-5" dirty="0" smtClean="0">
                <a:latin typeface="Arial"/>
                <a:cs typeface="Arial"/>
              </a:rPr>
              <a:t>s - </a:t>
            </a:r>
            <a:r>
              <a:rPr spc="-5" dirty="0" smtClean="0">
                <a:latin typeface="Arial"/>
                <a:cs typeface="Arial"/>
              </a:rPr>
              <a:t>determines </a:t>
            </a:r>
            <a:r>
              <a:rPr spc="-5" dirty="0">
                <a:latin typeface="Arial"/>
                <a:cs typeface="Arial"/>
              </a:rPr>
              <a:t>the item requirements to be  passed to materials planning (MRP</a:t>
            </a:r>
            <a:r>
              <a:rPr spc="-5" dirty="0" smtClean="0">
                <a:latin typeface="Arial"/>
                <a:cs typeface="Arial"/>
              </a:rPr>
              <a:t>)</a:t>
            </a:r>
            <a:endParaRPr spc="-5" dirty="0">
              <a:latin typeface="Arial"/>
              <a:cs typeface="Arial"/>
            </a:endParaRP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Pricing- indicates how a price should be determined for the sales order  </a:t>
            </a:r>
            <a:r>
              <a:rPr spc="-5" dirty="0" smtClean="0">
                <a:latin typeface="Arial"/>
                <a:cs typeface="Arial"/>
              </a:rPr>
              <a:t>item</a:t>
            </a:r>
            <a:endParaRPr spc="-5" dirty="0">
              <a:latin typeface="Arial"/>
              <a:cs typeface="Arial"/>
            </a:endParaRP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Sales Information System - dictates how the sales information system</a:t>
            </a:r>
          </a:p>
          <a:p>
            <a:pPr marL="469900" marR="33020" lvl="1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tabLst>
                <a:tab pos="696595" algn="l"/>
                <a:tab pos="697865" algn="l"/>
              </a:tabLst>
            </a:pPr>
            <a:r>
              <a:rPr lang="en-US" spc="-5" dirty="0" smtClean="0">
                <a:latin typeface="Arial"/>
                <a:cs typeface="Arial"/>
              </a:rPr>
              <a:t>      </a:t>
            </a:r>
            <a:r>
              <a:rPr spc="-5" dirty="0" smtClean="0">
                <a:latin typeface="Arial"/>
                <a:cs typeface="Arial"/>
              </a:rPr>
              <a:t>is </a:t>
            </a:r>
            <a:r>
              <a:rPr spc="-5" dirty="0">
                <a:latin typeface="Arial"/>
                <a:cs typeface="Arial"/>
              </a:rPr>
              <a:t>updated with sales order information to plan and control </a:t>
            </a:r>
            <a:r>
              <a:rPr spc="-5" dirty="0" smtClean="0">
                <a:latin typeface="Arial"/>
                <a:cs typeface="Arial"/>
              </a:rPr>
              <a:t>sales</a:t>
            </a:r>
            <a:endParaRPr spc="-5" dirty="0">
              <a:latin typeface="Arial"/>
              <a:cs typeface="Arial"/>
            </a:endParaRPr>
          </a:p>
          <a:p>
            <a:pPr marL="812800" marR="3302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Checking Credit Limit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04800" y="228600"/>
            <a:ext cx="7902575" cy="670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Sales – Associated</a:t>
            </a:r>
            <a:r>
              <a:rPr spc="-200" dirty="0"/>
              <a:t> </a:t>
            </a:r>
            <a:r>
              <a:rPr dirty="0"/>
              <a:t>Func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819400" y="4419601"/>
            <a:ext cx="5400675" cy="1904999"/>
          </a:xfrm>
          <a:prstGeom prst="rect">
            <a:avLst/>
          </a:prstGeom>
        </p:spPr>
      </p:pic>
      <p:sp>
        <p:nvSpPr>
          <p:cNvPr id="4" name="object 32"/>
          <p:cNvSpPr txBox="1"/>
          <p:nvPr/>
        </p:nvSpPr>
        <p:spPr>
          <a:xfrm>
            <a:off x="440054" y="1295400"/>
            <a:ext cx="8263890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657725" algn="l"/>
              </a:tabLst>
            </a:pPr>
            <a:r>
              <a:rPr sz="2200" spc="-5" dirty="0">
                <a:latin typeface="Arial"/>
                <a:cs typeface="Arial"/>
              </a:rPr>
              <a:t>Contracts </a:t>
            </a:r>
            <a:r>
              <a:rPr sz="2200" dirty="0">
                <a:latin typeface="Arial"/>
                <a:cs typeface="Arial"/>
              </a:rPr>
              <a:t>: Outline </a:t>
            </a:r>
            <a:r>
              <a:rPr sz="2200" spc="-5" dirty="0">
                <a:latin typeface="Arial"/>
                <a:cs typeface="Arial"/>
              </a:rPr>
              <a:t>agreements</a:t>
            </a:r>
            <a:r>
              <a:rPr sz="2200" spc="35" dirty="0">
                <a:latin typeface="Arial"/>
                <a:cs typeface="Arial"/>
              </a:rPr>
              <a:t> </a:t>
            </a:r>
            <a:r>
              <a:rPr sz="2200" spc="10" dirty="0">
                <a:latin typeface="Arial"/>
                <a:cs typeface="Arial"/>
              </a:rPr>
              <a:t>with</a:t>
            </a:r>
            <a:r>
              <a:rPr sz="2200" spc="-3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fixed	</a:t>
            </a:r>
            <a:r>
              <a:rPr sz="2200" dirty="0">
                <a:latin typeface="Arial"/>
                <a:cs typeface="Arial"/>
              </a:rPr>
              <a:t>quantity or </a:t>
            </a:r>
            <a:r>
              <a:rPr sz="2200" spc="-10" dirty="0">
                <a:latin typeface="Arial"/>
                <a:cs typeface="Arial"/>
              </a:rPr>
              <a:t>value </a:t>
            </a:r>
            <a:r>
              <a:rPr sz="2200" dirty="0">
                <a:latin typeface="Arial"/>
                <a:cs typeface="Arial"/>
              </a:rPr>
              <a:t>that</a:t>
            </a:r>
            <a:r>
              <a:rPr sz="2200" spc="-2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a</a:t>
            </a:r>
            <a:r>
              <a:rPr sz="2200" spc="-1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customer </a:t>
            </a:r>
            <a:r>
              <a:rPr sz="220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promises </a:t>
            </a:r>
            <a:r>
              <a:rPr sz="2200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order </a:t>
            </a:r>
            <a:r>
              <a:rPr sz="2200" spc="-15" dirty="0">
                <a:latin typeface="Arial"/>
                <a:cs typeface="Arial"/>
              </a:rPr>
              <a:t>over </a:t>
            </a:r>
            <a:r>
              <a:rPr sz="2200" spc="-5" dirty="0">
                <a:latin typeface="Arial"/>
                <a:cs typeface="Arial"/>
              </a:rPr>
              <a:t>a specified </a:t>
            </a:r>
            <a:r>
              <a:rPr sz="2200" dirty="0">
                <a:latin typeface="Arial"/>
                <a:cs typeface="Arial"/>
              </a:rPr>
              <a:t>period of </a:t>
            </a:r>
            <a:r>
              <a:rPr sz="2200" spc="-5" dirty="0">
                <a:latin typeface="Arial"/>
                <a:cs typeface="Arial"/>
              </a:rPr>
              <a:t>time, as </a:t>
            </a:r>
            <a:r>
              <a:rPr sz="2200" spc="10" dirty="0">
                <a:latin typeface="Arial"/>
                <a:cs typeface="Arial"/>
              </a:rPr>
              <a:t>well </a:t>
            </a:r>
            <a:r>
              <a:rPr sz="2200" spc="-5" dirty="0">
                <a:latin typeface="Arial"/>
                <a:cs typeface="Arial"/>
              </a:rPr>
              <a:t>as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price  </a:t>
            </a:r>
            <a:r>
              <a:rPr sz="2200" spc="-10" dirty="0">
                <a:latin typeface="Arial"/>
                <a:cs typeface="Arial"/>
              </a:rPr>
              <a:t>involved. </a:t>
            </a:r>
            <a:r>
              <a:rPr sz="2200" dirty="0">
                <a:latin typeface="Arial"/>
                <a:cs typeface="Arial"/>
              </a:rPr>
              <a:t>It </a:t>
            </a:r>
            <a:r>
              <a:rPr sz="2200" spc="-5" dirty="0">
                <a:latin typeface="Arial"/>
                <a:cs typeface="Arial"/>
              </a:rPr>
              <a:t>requires a release order </a:t>
            </a:r>
            <a:r>
              <a:rPr sz="2200" dirty="0">
                <a:latin typeface="Arial"/>
                <a:cs typeface="Arial"/>
              </a:rPr>
              <a:t>to </a:t>
            </a:r>
            <a:r>
              <a:rPr sz="2200" spc="-10" dirty="0">
                <a:latin typeface="Arial"/>
                <a:cs typeface="Arial"/>
              </a:rPr>
              <a:t>make </a:t>
            </a:r>
            <a:r>
              <a:rPr sz="2200" spc="-5" dirty="0">
                <a:latin typeface="Arial"/>
                <a:cs typeface="Arial"/>
              </a:rPr>
              <a:t>a </a:t>
            </a:r>
            <a:r>
              <a:rPr sz="2200" spc="-25" dirty="0">
                <a:latin typeface="Arial"/>
                <a:cs typeface="Arial"/>
              </a:rPr>
              <a:t>delivery. </a:t>
            </a:r>
            <a:r>
              <a:rPr sz="2200" spc="-5" dirty="0">
                <a:latin typeface="Arial"/>
                <a:cs typeface="Arial"/>
              </a:rPr>
              <a:t>Pricing (procedure  </a:t>
            </a:r>
            <a:r>
              <a:rPr sz="2200" dirty="0">
                <a:latin typeface="Arial"/>
                <a:cs typeface="Arial"/>
              </a:rPr>
              <a:t>and/or discounts) </a:t>
            </a:r>
            <a:r>
              <a:rPr sz="2200" spc="-5" dirty="0">
                <a:latin typeface="Arial"/>
                <a:cs typeface="Arial"/>
              </a:rPr>
              <a:t>is </a:t>
            </a:r>
            <a:r>
              <a:rPr sz="2200" dirty="0">
                <a:latin typeface="Arial"/>
                <a:cs typeface="Arial"/>
              </a:rPr>
              <a:t>copied to </a:t>
            </a:r>
            <a:r>
              <a:rPr sz="2200" spc="-5" dirty="0">
                <a:latin typeface="Arial"/>
                <a:cs typeface="Arial"/>
              </a:rPr>
              <a:t>release order from </a:t>
            </a:r>
            <a:r>
              <a:rPr sz="2200" dirty="0">
                <a:latin typeface="Arial"/>
                <a:cs typeface="Arial"/>
              </a:rPr>
              <a:t>the</a:t>
            </a:r>
            <a:r>
              <a:rPr sz="2200" spc="-3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contract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3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43116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Scheduling </a:t>
            </a:r>
            <a:r>
              <a:rPr sz="2200" spc="-10" dirty="0">
                <a:latin typeface="Arial"/>
                <a:cs typeface="Arial"/>
              </a:rPr>
              <a:t>Agreements </a:t>
            </a:r>
            <a:r>
              <a:rPr sz="2200" dirty="0">
                <a:latin typeface="Arial"/>
                <a:cs typeface="Arial"/>
              </a:rPr>
              <a:t>: Outline </a:t>
            </a:r>
            <a:r>
              <a:rPr sz="2200" spc="-5" dirty="0">
                <a:latin typeface="Arial"/>
                <a:cs typeface="Arial"/>
              </a:rPr>
              <a:t>agreements </a:t>
            </a:r>
            <a:r>
              <a:rPr sz="2200" spc="10" dirty="0">
                <a:latin typeface="Arial"/>
                <a:cs typeface="Arial"/>
              </a:rPr>
              <a:t>with </a:t>
            </a:r>
            <a:r>
              <a:rPr sz="2200" spc="-5" dirty="0">
                <a:latin typeface="Arial"/>
                <a:cs typeface="Arial"/>
              </a:rPr>
              <a:t>determined schedule  lines. A </a:t>
            </a:r>
            <a:r>
              <a:rPr sz="2200" spc="-10" dirty="0">
                <a:latin typeface="Arial"/>
                <a:cs typeface="Arial"/>
              </a:rPr>
              <a:t>delivery </a:t>
            </a:r>
            <a:r>
              <a:rPr sz="2200" dirty="0">
                <a:latin typeface="Arial"/>
                <a:cs typeface="Arial"/>
              </a:rPr>
              <a:t>note </a:t>
            </a:r>
            <a:r>
              <a:rPr sz="2200" spc="-5" dirty="0">
                <a:latin typeface="Arial"/>
                <a:cs typeface="Arial"/>
              </a:rPr>
              <a:t>is created directly from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scheduling agreement  (release </a:t>
            </a:r>
            <a:r>
              <a:rPr sz="2200" dirty="0">
                <a:latin typeface="Arial"/>
                <a:cs typeface="Arial"/>
              </a:rPr>
              <a:t>order is not</a:t>
            </a:r>
            <a:r>
              <a:rPr sz="2200" spc="-6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required)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6" name="object 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Outline</a:t>
            </a:r>
            <a:r>
              <a:rPr spc="-65" dirty="0"/>
              <a:t> </a:t>
            </a:r>
            <a:r>
              <a:rPr dirty="0"/>
              <a:t>Agreements</a:t>
            </a:r>
          </a:p>
        </p:txBody>
      </p:sp>
    </p:spTree>
    <p:extLst>
      <p:ext uri="{BB962C8B-B14F-4D97-AF65-F5344CB8AC3E}">
        <p14:creationId xmlns="" xmlns:p14="http://schemas.microsoft.com/office/powerpoint/2010/main" val="51791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Copy</a:t>
            </a:r>
            <a:r>
              <a:rPr spc="-80" dirty="0"/>
              <a:t> </a:t>
            </a:r>
            <a:r>
              <a:rPr dirty="0"/>
              <a:t>Control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335278"/>
            <a:ext cx="7186295" cy="46115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639060" algn="l"/>
              </a:tabLst>
            </a:pPr>
            <a:r>
              <a:rPr sz="2200" spc="-5" dirty="0">
                <a:latin typeface="Arial"/>
                <a:cs typeface="Arial"/>
              </a:rPr>
              <a:t>Through Copy </a:t>
            </a:r>
            <a:r>
              <a:rPr sz="2200" spc="-5" dirty="0" smtClean="0">
                <a:latin typeface="Arial"/>
                <a:cs typeface="Arial"/>
              </a:rPr>
              <a:t>Control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you </a:t>
            </a:r>
            <a:r>
              <a:rPr sz="2200" spc="-5" dirty="0">
                <a:latin typeface="Arial"/>
                <a:cs typeface="Arial"/>
              </a:rPr>
              <a:t>can</a:t>
            </a:r>
            <a:r>
              <a:rPr sz="2200" spc="-5" dirty="0" smtClean="0">
                <a:latin typeface="Arial"/>
                <a:cs typeface="Arial"/>
              </a:rPr>
              <a:t>,</a:t>
            </a:r>
            <a:endParaRPr sz="2200" spc="-5" dirty="0">
              <a:latin typeface="Arial"/>
              <a:cs typeface="Arial"/>
            </a:endParaRPr>
          </a:p>
          <a:p>
            <a:pPr marL="812800" marR="3302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lang="en-US" spc="-5" dirty="0">
                <a:latin typeface="Arial"/>
                <a:cs typeface="Arial"/>
              </a:rPr>
              <a:t>R</a:t>
            </a:r>
            <a:r>
              <a:rPr spc="-5" dirty="0" smtClean="0">
                <a:latin typeface="Arial"/>
                <a:cs typeface="Arial"/>
              </a:rPr>
              <a:t>estrict </a:t>
            </a:r>
            <a:r>
              <a:rPr spc="-5" dirty="0">
                <a:latin typeface="Arial"/>
                <a:cs typeface="Arial"/>
              </a:rPr>
              <a:t>the sales documents allowed for copy</a:t>
            </a:r>
          </a:p>
          <a:p>
            <a:pPr marL="812800" marR="3302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lang="en-US" spc="-5" dirty="0">
                <a:latin typeface="Arial"/>
                <a:cs typeface="Arial"/>
              </a:rPr>
              <a:t>C</a:t>
            </a:r>
            <a:r>
              <a:rPr spc="-5" dirty="0" smtClean="0">
                <a:latin typeface="Arial"/>
                <a:cs typeface="Arial"/>
              </a:rPr>
              <a:t>ontrol </a:t>
            </a:r>
            <a:r>
              <a:rPr spc="-5" dirty="0">
                <a:latin typeface="Arial"/>
                <a:cs typeface="Arial"/>
              </a:rPr>
              <a:t>the flow of data at header, item and schedule line </a:t>
            </a:r>
            <a:r>
              <a:rPr spc="-5" dirty="0" smtClean="0">
                <a:latin typeface="Arial"/>
                <a:cs typeface="Arial"/>
              </a:rPr>
              <a:t>level</a:t>
            </a:r>
            <a:endParaRPr spc="-5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o control the copying procedure, at each level you create:</a:t>
            </a: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755650" marR="47498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>
                <a:latin typeface="Arial"/>
                <a:cs typeface="Arial"/>
              </a:rPr>
              <a:t>Data Transfer Routines: These routines control how fields are  copied from the reference </a:t>
            </a:r>
            <a:r>
              <a:rPr spc="-5" dirty="0" smtClean="0">
                <a:latin typeface="Arial"/>
                <a:cs typeface="Arial"/>
              </a:rPr>
              <a:t>document</a:t>
            </a:r>
            <a:endParaRPr sz="1850" dirty="0">
              <a:latin typeface="Times New Roman"/>
              <a:cs typeface="Times New Roman"/>
            </a:endParaRPr>
          </a:p>
          <a:p>
            <a:pPr marL="755650" marR="474980" lvl="1" indent="-285750">
              <a:spcBef>
                <a:spcPts val="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>
                <a:latin typeface="Arial"/>
                <a:cs typeface="Arial"/>
              </a:rPr>
              <a:t>Copying Requirements : Here you define requirements that are  checked when you create a document with reference. If these  requirements are not met in a particular case, the system issues a  warning or error message and if necessary, terminates  </a:t>
            </a:r>
            <a:r>
              <a:rPr spc="-5" dirty="0" smtClean="0">
                <a:latin typeface="Arial"/>
                <a:cs typeface="Arial"/>
              </a:rPr>
              <a:t>processing</a:t>
            </a:r>
            <a:endParaRPr spc="-5" dirty="0">
              <a:latin typeface="Arial"/>
              <a:cs typeface="Arial"/>
            </a:endParaRPr>
          </a:p>
          <a:p>
            <a:pPr marL="755650" marR="47498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 smtClean="0">
                <a:latin typeface="Arial"/>
                <a:cs typeface="Arial"/>
              </a:rPr>
              <a:t>Quantity and Value updates </a:t>
            </a:r>
            <a:r>
              <a:rPr spc="-5" dirty="0">
                <a:latin typeface="Arial"/>
                <a:cs typeface="Arial"/>
              </a:rPr>
              <a:t>in document flow</a:t>
            </a:r>
          </a:p>
        </p:txBody>
      </p:sp>
      <p:sp>
        <p:nvSpPr>
          <p:cNvPr id="4" name="object 4"/>
          <p:cNvSpPr/>
          <p:nvPr/>
        </p:nvSpPr>
        <p:spPr>
          <a:xfrm>
            <a:off x="7361525" y="3672882"/>
            <a:ext cx="1613725" cy="18397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4149" y="488441"/>
            <a:ext cx="6146165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Sales Document</a:t>
            </a:r>
            <a:r>
              <a:rPr spc="-95" dirty="0"/>
              <a:t> </a:t>
            </a:r>
            <a:r>
              <a:rPr dirty="0"/>
              <a:t>Typ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81000" y="1447800"/>
            <a:ext cx="1263650" cy="3810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40640" rIns="0" bIns="0" rtlCol="0">
            <a:spAutoFit/>
          </a:bodyPr>
          <a:lstStyle/>
          <a:p>
            <a:pPr marL="400685">
              <a:lnSpc>
                <a:spcPct val="100000"/>
              </a:lnSpc>
              <a:spcBef>
                <a:spcPts val="320"/>
              </a:spcBef>
            </a:pPr>
            <a:r>
              <a:rPr sz="1800" b="1" spc="-5" dirty="0">
                <a:solidFill>
                  <a:srgbClr val="808080"/>
                </a:solidFill>
                <a:latin typeface="Arial"/>
                <a:cs typeface="Arial"/>
              </a:rPr>
              <a:t>IN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667000" y="1447800"/>
            <a:ext cx="2805176" cy="457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569464" y="1394460"/>
            <a:ext cx="1408176" cy="4998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569208" y="1394460"/>
            <a:ext cx="484632" cy="4998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746629" y="1483486"/>
            <a:ext cx="102552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spc="-5" dirty="0">
                <a:solidFill>
                  <a:srgbClr val="FFFFFF"/>
                </a:solidFill>
                <a:latin typeface="Times New Roman"/>
                <a:cs typeface="Times New Roman"/>
              </a:rPr>
              <a:t>Inqu</a:t>
            </a:r>
            <a:r>
              <a:rPr sz="2400" b="1" dirty="0">
                <a:solidFill>
                  <a:srgbClr val="FFFFFF"/>
                </a:solidFill>
                <a:latin typeface="Times New Roman"/>
                <a:cs typeface="Times New Roman"/>
              </a:rPr>
              <a:t>iry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819275" y="14478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819275" y="14478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1000" y="2133600"/>
            <a:ext cx="1263650" cy="4572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793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25"/>
              </a:spcBef>
            </a:pPr>
            <a:r>
              <a:rPr sz="1800" b="1" dirty="0">
                <a:solidFill>
                  <a:srgbClr val="808080"/>
                </a:solidFill>
                <a:latin typeface="Arial"/>
                <a:cs typeface="Arial"/>
              </a:rPr>
              <a:t>Q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667000" y="2193925"/>
            <a:ext cx="2805176" cy="3968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599944" y="2156460"/>
            <a:ext cx="1546859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802379" y="2156460"/>
            <a:ext cx="414527" cy="420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746629" y="2233421"/>
            <a:ext cx="1229995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Quotation</a:t>
            </a:r>
            <a:endParaRPr sz="200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819275" y="21336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819275" y="21336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381000" y="2743200"/>
            <a:ext cx="1263650" cy="4572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79375" rIns="0" bIns="0" rtlCol="0">
            <a:spAutoFit/>
          </a:bodyPr>
          <a:lstStyle/>
          <a:p>
            <a:pPr marL="400685">
              <a:lnSpc>
                <a:spcPct val="100000"/>
              </a:lnSpc>
              <a:spcBef>
                <a:spcPts val="625"/>
              </a:spcBef>
            </a:pPr>
            <a:r>
              <a:rPr sz="1800" b="1" spc="-5" dirty="0">
                <a:solidFill>
                  <a:srgbClr val="808080"/>
                </a:solidFill>
                <a:latin typeface="Arial"/>
                <a:cs typeface="Arial"/>
              </a:rPr>
              <a:t>OR</a:t>
            </a:r>
            <a:endParaRPr sz="18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667000" y="2803525"/>
            <a:ext cx="2805176" cy="3968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599944" y="2766060"/>
            <a:ext cx="2208276" cy="42062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463796" y="2766060"/>
            <a:ext cx="414527" cy="420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2746629" y="2843021"/>
            <a:ext cx="1891664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Standard</a:t>
            </a:r>
            <a:r>
              <a:rPr sz="20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Order</a:t>
            </a:r>
            <a:endParaRPr sz="20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819275" y="27432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819275" y="27432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381000" y="3429000"/>
            <a:ext cx="1263650" cy="4572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793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25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RO</a:t>
            </a:r>
            <a:endParaRPr sz="18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667000" y="3489325"/>
            <a:ext cx="2805176" cy="3968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599944" y="3451859"/>
            <a:ext cx="1743456" cy="42062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998976" y="3451859"/>
            <a:ext cx="414527" cy="42062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2746629" y="3528821"/>
            <a:ext cx="1426210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Rush</a:t>
            </a:r>
            <a:r>
              <a:rPr sz="20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Order</a:t>
            </a:r>
            <a:endParaRPr sz="20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819275" y="34290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819275" y="34290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381000" y="4038600"/>
            <a:ext cx="1263650" cy="4572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79375" rIns="0" bIns="0" rtlCol="0">
            <a:spAutoFit/>
          </a:bodyPr>
          <a:lstStyle/>
          <a:p>
            <a:pPr marL="400685">
              <a:lnSpc>
                <a:spcPct val="100000"/>
              </a:lnSpc>
              <a:spcBef>
                <a:spcPts val="625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CS</a:t>
            </a:r>
            <a:endParaRPr sz="1800">
              <a:latin typeface="Arial"/>
              <a:cs typeface="Arial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2667000" y="4098925"/>
            <a:ext cx="2805176" cy="3968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599944" y="4061459"/>
            <a:ext cx="1557528" cy="42062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813047" y="4061459"/>
            <a:ext cx="414527" cy="420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2746629" y="4138803"/>
            <a:ext cx="1240155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Cash</a:t>
            </a:r>
            <a:r>
              <a:rPr sz="2000" b="1" spc="-10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Sale</a:t>
            </a:r>
            <a:endParaRPr sz="20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1819275" y="40386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819275" y="40386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381000" y="4724400"/>
            <a:ext cx="1263650" cy="4572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793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25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DS</a:t>
            </a:r>
            <a:endParaRPr sz="18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667000" y="4784725"/>
            <a:ext cx="2881376" cy="39687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99944" y="4747259"/>
            <a:ext cx="1773935" cy="42062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930396" y="5052059"/>
            <a:ext cx="414527" cy="42062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2701291" y="4811203"/>
            <a:ext cx="29206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Sch</a:t>
            </a:r>
            <a:r>
              <a:rPr sz="2000" b="1" spc="5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dul</a:t>
            </a:r>
            <a:r>
              <a:rPr sz="2000" b="1" spc="-10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ng  </a:t>
            </a:r>
            <a:r>
              <a:rPr sz="2000" b="1" dirty="0" smtClean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lang="en-US" sz="2000" b="1" dirty="0" smtClean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2000" b="1" dirty="0" smtClean="0">
                <a:solidFill>
                  <a:srgbClr val="FFFFFF"/>
                </a:solidFill>
                <a:latin typeface="Arial"/>
                <a:cs typeface="Arial"/>
              </a:rPr>
              <a:t>reement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1819275" y="47244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819275" y="47244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381000" y="5334000"/>
            <a:ext cx="1263650" cy="45720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8001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30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CQ</a:t>
            </a:r>
            <a:endParaRPr sz="1800"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2667000" y="5394325"/>
            <a:ext cx="2881376" cy="39687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599944" y="5356859"/>
            <a:ext cx="2490216" cy="42062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745735" y="5356859"/>
            <a:ext cx="414527" cy="42062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2746629" y="5434482"/>
            <a:ext cx="2172970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Quantity</a:t>
            </a:r>
            <a:r>
              <a:rPr sz="2000" b="1" spc="-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Contract</a:t>
            </a:r>
            <a:endParaRPr sz="2000">
              <a:latin typeface="Arial"/>
              <a:cs typeface="Arial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819275" y="5334000"/>
            <a:ext cx="771525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819275" y="5334000"/>
            <a:ext cx="771525" cy="457200"/>
          </a:xfrm>
          <a:custGeom>
            <a:avLst/>
            <a:gdLst/>
            <a:ahLst/>
            <a:cxnLst/>
            <a:rect l="l" t="t" r="r" b="b"/>
            <a:pathLst>
              <a:path w="771525" h="457200">
                <a:moveTo>
                  <a:pt x="0" y="457200"/>
                </a:moveTo>
                <a:lnTo>
                  <a:pt x="771525" y="22860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434593" y="5943600"/>
            <a:ext cx="795782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500" b="1" spc="5" dirty="0">
                <a:latin typeface="Arial"/>
                <a:cs typeface="Arial"/>
              </a:rPr>
              <a:t>IMG </a:t>
            </a:r>
            <a:r>
              <a:rPr sz="1500" b="1" dirty="0">
                <a:latin typeface="Arial"/>
                <a:cs typeface="Arial"/>
              </a:rPr>
              <a:t>-&gt;Sales </a:t>
            </a:r>
            <a:r>
              <a:rPr sz="1500" b="1" spc="-5" dirty="0">
                <a:latin typeface="Arial"/>
                <a:cs typeface="Arial"/>
              </a:rPr>
              <a:t>and Distribution </a:t>
            </a:r>
            <a:r>
              <a:rPr sz="1500" b="1" dirty="0">
                <a:latin typeface="Arial"/>
                <a:cs typeface="Arial"/>
              </a:rPr>
              <a:t>-&gt; Sales -&gt; Sales </a:t>
            </a:r>
            <a:r>
              <a:rPr sz="1500" b="1" spc="-5" dirty="0">
                <a:latin typeface="Arial"/>
                <a:cs typeface="Arial"/>
              </a:rPr>
              <a:t>Documents </a:t>
            </a:r>
            <a:r>
              <a:rPr sz="1500" b="1" dirty="0">
                <a:latin typeface="Arial"/>
                <a:cs typeface="Arial"/>
              </a:rPr>
              <a:t>-&gt; Sales </a:t>
            </a:r>
            <a:r>
              <a:rPr sz="1500" b="1" spc="-5" dirty="0">
                <a:latin typeface="Arial"/>
                <a:cs typeface="Arial"/>
              </a:rPr>
              <a:t>document header </a:t>
            </a:r>
            <a:r>
              <a:rPr sz="1500" b="1" dirty="0">
                <a:latin typeface="Arial"/>
                <a:cs typeface="Arial"/>
              </a:rPr>
              <a:t>-&gt;</a:t>
            </a:r>
            <a:r>
              <a:rPr sz="1500" b="1" spc="-229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Define  </a:t>
            </a:r>
            <a:r>
              <a:rPr sz="1500" b="1" dirty="0">
                <a:latin typeface="Arial"/>
                <a:cs typeface="Arial"/>
              </a:rPr>
              <a:t>sales </a:t>
            </a:r>
            <a:r>
              <a:rPr sz="1500" b="1" spc="-5" dirty="0">
                <a:latin typeface="Arial"/>
                <a:cs typeface="Arial"/>
              </a:rPr>
              <a:t>document</a:t>
            </a:r>
            <a:r>
              <a:rPr sz="1500" b="1" spc="-150" dirty="0">
                <a:latin typeface="Arial"/>
                <a:cs typeface="Arial"/>
              </a:rPr>
              <a:t> </a:t>
            </a:r>
            <a:r>
              <a:rPr sz="1500" b="1" spc="-10" dirty="0">
                <a:latin typeface="Arial"/>
                <a:cs typeface="Arial"/>
              </a:rPr>
              <a:t>types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566028" y="1444244"/>
            <a:ext cx="3049905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 sales document types -  represent the different  business transactions in </a:t>
            </a:r>
            <a:r>
              <a:rPr sz="2200" spc="-5" dirty="0" smtClean="0">
                <a:latin typeface="Arial"/>
                <a:cs typeface="Arial"/>
              </a:rPr>
              <a:t>Sales</a:t>
            </a:r>
            <a:endParaRPr sz="2200" spc="-5" dirty="0">
              <a:latin typeface="Arial"/>
              <a:cs typeface="Arial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5621905" y="3035743"/>
            <a:ext cx="2878455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 customizing for a sales  document type controls the  behavior of a sales document  at the header </a:t>
            </a:r>
            <a:r>
              <a:rPr sz="2200" spc="-5" dirty="0" smtClean="0">
                <a:latin typeface="Arial"/>
                <a:cs typeface="Arial"/>
              </a:rPr>
              <a:t>level</a:t>
            </a:r>
            <a:endParaRPr sz="2200" spc="-5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ales Document Type -</a:t>
            </a:r>
            <a:r>
              <a:rPr spc="-70" dirty="0"/>
              <a:t> </a:t>
            </a:r>
            <a:r>
              <a:rPr dirty="0"/>
              <a:t>Controls</a:t>
            </a:r>
          </a:p>
        </p:txBody>
      </p:sp>
      <p:sp>
        <p:nvSpPr>
          <p:cNvPr id="3" name="object 3"/>
          <p:cNvSpPr/>
          <p:nvPr/>
        </p:nvSpPr>
        <p:spPr>
          <a:xfrm>
            <a:off x="381000" y="1219200"/>
            <a:ext cx="4343400" cy="5181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66712" y="1204912"/>
            <a:ext cx="4371975" cy="5210175"/>
          </a:xfrm>
          <a:custGeom>
            <a:avLst/>
            <a:gdLst/>
            <a:ahLst/>
            <a:cxnLst/>
            <a:rect l="l" t="t" r="r" b="b"/>
            <a:pathLst>
              <a:path w="4371975" h="5210175">
                <a:moveTo>
                  <a:pt x="0" y="5210175"/>
                </a:moveTo>
                <a:lnTo>
                  <a:pt x="4371975" y="5210175"/>
                </a:lnTo>
                <a:lnTo>
                  <a:pt x="4371975" y="0"/>
                </a:lnTo>
                <a:lnTo>
                  <a:pt x="0" y="0"/>
                </a:lnTo>
                <a:lnTo>
                  <a:pt x="0" y="5210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956175" y="1183385"/>
            <a:ext cx="4066540" cy="5201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2065"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The definition and configuration of </a:t>
            </a:r>
            <a:r>
              <a:rPr sz="1400" b="1" dirty="0">
                <a:latin typeface="Arial"/>
                <a:cs typeface="Arial"/>
              </a:rPr>
              <a:t>sales  </a:t>
            </a:r>
            <a:r>
              <a:rPr sz="1400" b="1" spc="-5" dirty="0">
                <a:latin typeface="Arial"/>
                <a:cs typeface="Arial"/>
              </a:rPr>
              <a:t>document </a:t>
            </a:r>
            <a:r>
              <a:rPr sz="1400" b="1" spc="-10" dirty="0">
                <a:latin typeface="Arial"/>
                <a:cs typeface="Arial"/>
              </a:rPr>
              <a:t>types </a:t>
            </a:r>
            <a:r>
              <a:rPr sz="1400" b="1" dirty="0">
                <a:latin typeface="Arial"/>
                <a:cs typeface="Arial"/>
              </a:rPr>
              <a:t>can </a:t>
            </a:r>
            <a:r>
              <a:rPr sz="1400" b="1" spc="-5" dirty="0">
                <a:latin typeface="Arial"/>
                <a:cs typeface="Arial"/>
              </a:rPr>
              <a:t>be divided into three</a:t>
            </a:r>
            <a:r>
              <a:rPr sz="1400" b="1" spc="-1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arts:</a:t>
            </a: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 b="1" dirty="0">
              <a:latin typeface="Times New Roman"/>
              <a:cs typeface="Times New Roman"/>
            </a:endParaRPr>
          </a:p>
          <a:p>
            <a:pPr marL="355600" marR="294640" indent="-342900">
              <a:lnSpc>
                <a:spcPct val="100000"/>
              </a:lnSpc>
              <a:buAutoNum type="arabicPeriod"/>
              <a:tabLst>
                <a:tab pos="355600" algn="l"/>
                <a:tab pos="356235" algn="l"/>
              </a:tabLst>
            </a:pPr>
            <a:r>
              <a:rPr sz="1400" b="1" spc="-5" dirty="0">
                <a:latin typeface="Arial"/>
                <a:cs typeface="Arial"/>
              </a:rPr>
              <a:t>Definition of the </a:t>
            </a:r>
            <a:r>
              <a:rPr sz="1400" b="1" dirty="0">
                <a:latin typeface="Arial"/>
                <a:cs typeface="Arial"/>
              </a:rPr>
              <a:t>sales </a:t>
            </a:r>
            <a:r>
              <a:rPr sz="1400" b="1" spc="-5" dirty="0">
                <a:latin typeface="Arial"/>
                <a:cs typeface="Arial"/>
              </a:rPr>
              <a:t>document </a:t>
            </a:r>
            <a:r>
              <a:rPr sz="1400" b="1" spc="-10" dirty="0">
                <a:latin typeface="Arial"/>
                <a:cs typeface="Arial"/>
              </a:rPr>
              <a:t>types  </a:t>
            </a:r>
            <a:r>
              <a:rPr sz="1400" b="1" spc="-5" dirty="0">
                <a:latin typeface="Arial"/>
                <a:cs typeface="Arial"/>
              </a:rPr>
              <a:t>themselves </a:t>
            </a:r>
            <a:r>
              <a:rPr sz="1400" b="1" dirty="0">
                <a:latin typeface="Arial"/>
                <a:cs typeface="Arial"/>
              </a:rPr>
              <a:t>(for </a:t>
            </a:r>
            <a:r>
              <a:rPr sz="1400" b="1" spc="-5" dirty="0">
                <a:latin typeface="Arial"/>
                <a:cs typeface="Arial"/>
              </a:rPr>
              <a:t>e.g., Standard order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OR)</a:t>
            </a:r>
          </a:p>
          <a:p>
            <a:pPr>
              <a:lnSpc>
                <a:spcPct val="100000"/>
              </a:lnSpc>
              <a:spcBef>
                <a:spcPts val="15"/>
              </a:spcBef>
              <a:buFont typeface="Arial"/>
              <a:buAutoNum type="arabicPeriod"/>
            </a:pPr>
            <a:endParaRPr sz="1450" b="1" dirty="0">
              <a:latin typeface="Times New Roman"/>
              <a:cs typeface="Times New Roman"/>
            </a:endParaRPr>
          </a:p>
          <a:p>
            <a:pPr marL="355600" marR="140335" indent="-342900">
              <a:lnSpc>
                <a:spcPct val="100000"/>
              </a:lnSpc>
              <a:buAutoNum type="arabicPeriod"/>
              <a:tabLst>
                <a:tab pos="355600" algn="l"/>
                <a:tab pos="356235" algn="l"/>
              </a:tabLst>
            </a:pPr>
            <a:r>
              <a:rPr sz="1400" b="1" spc="-5" dirty="0">
                <a:latin typeface="Arial"/>
                <a:cs typeface="Arial"/>
              </a:rPr>
              <a:t>Definition of additional </a:t>
            </a:r>
            <a:r>
              <a:rPr sz="1400" b="1" dirty="0">
                <a:latin typeface="Arial"/>
                <a:cs typeface="Arial"/>
              </a:rPr>
              <a:t>sales </a:t>
            </a:r>
            <a:r>
              <a:rPr sz="1400" b="1" spc="-5" dirty="0">
                <a:latin typeface="Arial"/>
                <a:cs typeface="Arial"/>
              </a:rPr>
              <a:t>document  functions </a:t>
            </a:r>
            <a:r>
              <a:rPr sz="1400" b="1" dirty="0">
                <a:latin typeface="Arial"/>
                <a:cs typeface="Arial"/>
              </a:rPr>
              <a:t>(for example, </a:t>
            </a:r>
            <a:r>
              <a:rPr sz="1400" b="1" spc="-5" dirty="0">
                <a:latin typeface="Arial"/>
                <a:cs typeface="Arial"/>
              </a:rPr>
              <a:t>number ranges</a:t>
            </a:r>
            <a:r>
              <a:rPr sz="1400" b="1" spc="-15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for  internal and </a:t>
            </a:r>
            <a:r>
              <a:rPr sz="1400" b="1" dirty="0">
                <a:latin typeface="Arial"/>
                <a:cs typeface="Arial"/>
              </a:rPr>
              <a:t>external assignment, Item </a:t>
            </a:r>
            <a:r>
              <a:rPr sz="1400" b="1" spc="-5" dirty="0">
                <a:latin typeface="Arial"/>
                <a:cs typeface="Arial"/>
              </a:rPr>
              <a:t>no.  </a:t>
            </a:r>
            <a:r>
              <a:rPr sz="1400" b="1" dirty="0">
                <a:latin typeface="Arial"/>
                <a:cs typeface="Arial"/>
              </a:rPr>
              <a:t>increment)</a:t>
            </a:r>
          </a:p>
          <a:p>
            <a:pPr>
              <a:lnSpc>
                <a:spcPct val="100000"/>
              </a:lnSpc>
              <a:spcBef>
                <a:spcPts val="10"/>
              </a:spcBef>
              <a:buFont typeface="Arial"/>
              <a:buAutoNum type="arabicPeriod"/>
            </a:pPr>
            <a:endParaRPr sz="1450" b="1" dirty="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100000"/>
              </a:lnSpc>
              <a:buAutoNum type="arabicPeriod"/>
              <a:tabLst>
                <a:tab pos="298450" algn="l"/>
                <a:tab pos="299085" algn="l"/>
              </a:tabLst>
            </a:pPr>
            <a:r>
              <a:rPr sz="1400" b="1" spc="-10" dirty="0">
                <a:latin typeface="Arial"/>
                <a:cs typeface="Arial"/>
              </a:rPr>
              <a:t>Additional </a:t>
            </a:r>
            <a:r>
              <a:rPr sz="1400" b="1" spc="-5" dirty="0">
                <a:latin typeface="Arial"/>
                <a:cs typeface="Arial"/>
              </a:rPr>
              <a:t>Configurations </a:t>
            </a:r>
            <a:r>
              <a:rPr sz="1400" b="1" dirty="0">
                <a:latin typeface="Arial"/>
                <a:cs typeface="Arial"/>
              </a:rPr>
              <a:t>must </a:t>
            </a:r>
            <a:r>
              <a:rPr sz="1400" b="1" spc="-5" dirty="0">
                <a:latin typeface="Arial"/>
                <a:cs typeface="Arial"/>
              </a:rPr>
              <a:t>be </a:t>
            </a:r>
            <a:r>
              <a:rPr sz="1400" b="1" spc="-10" dirty="0">
                <a:latin typeface="Arial"/>
                <a:cs typeface="Arial"/>
              </a:rPr>
              <a:t>done  </a:t>
            </a:r>
            <a:r>
              <a:rPr sz="1400" b="1" spc="-5" dirty="0">
                <a:latin typeface="Arial"/>
                <a:cs typeface="Arial"/>
              </a:rPr>
              <a:t>outside of the document </a:t>
            </a:r>
            <a:r>
              <a:rPr sz="1400" b="1" spc="-15" dirty="0">
                <a:latin typeface="Arial"/>
                <a:cs typeface="Arial"/>
              </a:rPr>
              <a:t>type </a:t>
            </a:r>
            <a:r>
              <a:rPr sz="1400" b="1" dirty="0">
                <a:latin typeface="Arial"/>
                <a:cs typeface="Arial"/>
              </a:rPr>
              <a:t>is maintained  as basic </a:t>
            </a:r>
            <a:r>
              <a:rPr sz="1400" b="1" spc="-5" dirty="0">
                <a:latin typeface="Arial"/>
                <a:cs typeface="Arial"/>
              </a:rPr>
              <a:t>functions </a:t>
            </a:r>
            <a:r>
              <a:rPr sz="1400" b="1" dirty="0">
                <a:latin typeface="Arial"/>
                <a:cs typeface="Arial"/>
              </a:rPr>
              <a:t>(such as </a:t>
            </a:r>
            <a:r>
              <a:rPr sz="1400" b="1" spc="-5" dirty="0">
                <a:latin typeface="Arial"/>
                <a:cs typeface="Arial"/>
              </a:rPr>
              <a:t>pricing,  partners, output </a:t>
            </a:r>
            <a:r>
              <a:rPr sz="1400" b="1" dirty="0">
                <a:latin typeface="Arial"/>
                <a:cs typeface="Arial"/>
              </a:rPr>
              <a:t>, </a:t>
            </a:r>
            <a:r>
              <a:rPr sz="1400" b="1" spc="-5" dirty="0">
                <a:latin typeface="Arial"/>
                <a:cs typeface="Arial"/>
              </a:rPr>
              <a:t>and </a:t>
            </a:r>
            <a:r>
              <a:rPr sz="1400" b="1" dirty="0">
                <a:latin typeface="Arial"/>
                <a:cs typeface="Arial"/>
              </a:rPr>
              <a:t>so </a:t>
            </a:r>
            <a:r>
              <a:rPr sz="1400" b="1" spc="-5" dirty="0">
                <a:latin typeface="Arial"/>
                <a:cs typeface="Arial"/>
              </a:rPr>
              <a:t>on, for </a:t>
            </a:r>
            <a:r>
              <a:rPr sz="1400" b="1" dirty="0">
                <a:latin typeface="Arial"/>
                <a:cs typeface="Arial"/>
              </a:rPr>
              <a:t>example,  </a:t>
            </a:r>
            <a:r>
              <a:rPr sz="1400" b="1" spc="-5" dirty="0">
                <a:latin typeface="Arial"/>
                <a:cs typeface="Arial"/>
              </a:rPr>
              <a:t>Pricing). The procedure </a:t>
            </a:r>
            <a:r>
              <a:rPr sz="1400" b="1" dirty="0">
                <a:latin typeface="Arial"/>
                <a:cs typeface="Arial"/>
              </a:rPr>
              <a:t>is </a:t>
            </a:r>
            <a:r>
              <a:rPr sz="1400" b="1" spc="-5" dirty="0">
                <a:latin typeface="Arial"/>
                <a:cs typeface="Arial"/>
              </a:rPr>
              <a:t>then </a:t>
            </a:r>
            <a:r>
              <a:rPr sz="1400" b="1" dirty="0">
                <a:latin typeface="Arial"/>
                <a:cs typeface="Arial"/>
              </a:rPr>
              <a:t>linked to</a:t>
            </a:r>
            <a:r>
              <a:rPr sz="1400" b="1" spc="-17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the  document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spc="-15" dirty="0">
                <a:latin typeface="Arial"/>
                <a:cs typeface="Arial"/>
              </a:rPr>
              <a:t>type.</a:t>
            </a:r>
            <a:endParaRPr sz="1400" b="1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 b="1" dirty="0">
              <a:latin typeface="Times New Roman"/>
              <a:cs typeface="Times New Roman"/>
            </a:endParaRPr>
          </a:p>
          <a:p>
            <a:pPr marL="12700" marR="317500">
              <a:lnSpc>
                <a:spcPct val="100000"/>
              </a:lnSpc>
            </a:pPr>
            <a:r>
              <a:rPr sz="1400" b="1" spc="-40" dirty="0">
                <a:latin typeface="Arial"/>
                <a:cs typeface="Arial"/>
              </a:rPr>
              <a:t>You </a:t>
            </a:r>
            <a:r>
              <a:rPr sz="1400" b="1" dirty="0">
                <a:latin typeface="Arial"/>
                <a:cs typeface="Arial"/>
              </a:rPr>
              <a:t>can </a:t>
            </a:r>
            <a:r>
              <a:rPr sz="1400" b="1" spc="-5" dirty="0">
                <a:latin typeface="Arial"/>
                <a:cs typeface="Arial"/>
              </a:rPr>
              <a:t>activate various </a:t>
            </a:r>
            <a:r>
              <a:rPr sz="1400" b="1" dirty="0">
                <a:latin typeface="Arial"/>
                <a:cs typeface="Arial"/>
              </a:rPr>
              <a:t>checks, </a:t>
            </a:r>
            <a:r>
              <a:rPr sz="1400" b="1" spc="-5" dirty="0">
                <a:latin typeface="Arial"/>
                <a:cs typeface="Arial"/>
              </a:rPr>
              <a:t>such </a:t>
            </a:r>
            <a:r>
              <a:rPr sz="1400" b="1" dirty="0">
                <a:latin typeface="Arial"/>
                <a:cs typeface="Arial"/>
              </a:rPr>
              <a:t>as  messages </a:t>
            </a:r>
            <a:r>
              <a:rPr sz="1400" b="1" spc="-5" dirty="0">
                <a:latin typeface="Arial"/>
                <a:cs typeface="Arial"/>
              </a:rPr>
              <a:t>about open quotations or outline  </a:t>
            </a:r>
            <a:r>
              <a:rPr sz="1400" b="1" dirty="0">
                <a:latin typeface="Arial"/>
                <a:cs typeface="Arial"/>
              </a:rPr>
              <a:t>agreements, searches </a:t>
            </a:r>
            <a:r>
              <a:rPr sz="1400" b="1" spc="-5" dirty="0">
                <a:latin typeface="Arial"/>
                <a:cs typeface="Arial"/>
              </a:rPr>
              <a:t>for customer</a:t>
            </a:r>
            <a:r>
              <a:rPr sz="1400" b="1" spc="-13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material  </a:t>
            </a:r>
            <a:r>
              <a:rPr sz="1400" b="1" spc="-5" dirty="0">
                <a:latin typeface="Arial"/>
                <a:cs typeface="Arial"/>
              </a:rPr>
              <a:t>info records, or </a:t>
            </a:r>
            <a:r>
              <a:rPr sz="1400" b="1" dirty="0">
                <a:latin typeface="Arial"/>
                <a:cs typeface="Arial"/>
              </a:rPr>
              <a:t>credit limit</a:t>
            </a:r>
            <a:r>
              <a:rPr sz="1400" b="1" spc="-15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hecks</a:t>
            </a:r>
            <a:r>
              <a:rPr sz="1400" b="1" dirty="0" smtClean="0">
                <a:latin typeface="Arial"/>
                <a:cs typeface="Arial"/>
              </a:rPr>
              <a:t>.</a:t>
            </a:r>
            <a:endParaRPr sz="1450" b="1" dirty="0">
              <a:latin typeface="Times New Roman"/>
              <a:cs typeface="Times New Roman"/>
            </a:endParaRPr>
          </a:p>
          <a:p>
            <a:pPr marL="12700" marR="453390">
              <a:lnSpc>
                <a:spcPct val="100000"/>
              </a:lnSpc>
            </a:pPr>
            <a:r>
              <a:rPr sz="1400" b="1" spc="-5" dirty="0">
                <a:solidFill>
                  <a:srgbClr val="0070C0"/>
                </a:solidFill>
                <a:latin typeface="Arial"/>
                <a:cs typeface="Arial"/>
              </a:rPr>
              <a:t>Note: Activating </a:t>
            </a:r>
            <a:r>
              <a:rPr sz="1400" b="1" dirty="0">
                <a:solidFill>
                  <a:srgbClr val="0070C0"/>
                </a:solidFill>
                <a:latin typeface="Arial"/>
                <a:cs typeface="Arial"/>
              </a:rPr>
              <a:t>checks can </a:t>
            </a:r>
            <a:r>
              <a:rPr sz="1400" b="1" spc="-5" dirty="0">
                <a:solidFill>
                  <a:srgbClr val="0070C0"/>
                </a:solidFill>
                <a:latin typeface="Arial"/>
                <a:cs typeface="Arial"/>
              </a:rPr>
              <a:t>affect </a:t>
            </a:r>
            <a:r>
              <a:rPr sz="1400" b="1" dirty="0">
                <a:solidFill>
                  <a:srgbClr val="0070C0"/>
                </a:solidFill>
                <a:latin typeface="Arial"/>
                <a:cs typeface="Arial"/>
              </a:rPr>
              <a:t>the</a:t>
            </a:r>
            <a:r>
              <a:rPr sz="1400" b="1" spc="-140" dirty="0">
                <a:solidFill>
                  <a:srgbClr val="0070C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70C0"/>
                </a:solidFill>
                <a:latin typeface="Arial"/>
                <a:cs typeface="Arial"/>
              </a:rPr>
              <a:t>system  performance.</a:t>
            </a:r>
            <a:endParaRPr sz="1400" b="1" dirty="0">
              <a:solidFill>
                <a:srgbClr val="0070C0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6858000" cy="492443"/>
          </a:xfrm>
        </p:spPr>
        <p:txBody>
          <a:bodyPr/>
          <a:lstStyle/>
          <a:p>
            <a:pPr eaLnBrk="1" hangingPunct="1"/>
            <a:r>
              <a:rPr lang="en-US" altLang="en-US" sz="3200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762000" y="1447800"/>
            <a:ext cx="5095875" cy="4524315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Purpose</a:t>
            </a:r>
          </a:p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Use</a:t>
            </a:r>
          </a:p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Challenges</a:t>
            </a:r>
          </a:p>
          <a:p>
            <a:pPr eaLnBrk="1" hangingPunct="1"/>
            <a:r>
              <a:rPr lang="en-US" altLang="en-US" dirty="0" smtClean="0"/>
              <a:t>SD Sales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chemeClr val="tx1"/>
                </a:solidFill>
              </a:rPr>
              <a:t>Pre Sales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chemeClr val="tx1"/>
                </a:solidFill>
              </a:rPr>
              <a:t>Sales Order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chemeClr val="tx1"/>
                </a:solidFill>
              </a:rPr>
              <a:t>Outline Agreement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tx1"/>
                </a:solidFill>
              </a:rPr>
              <a:t>Copy Control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Sales Document Types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tx1"/>
                </a:solidFill>
              </a:rPr>
              <a:t>Sales Document Type-Control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solidFill>
                  <a:schemeClr val="tx1"/>
                </a:solidFill>
                <a:latin typeface="Arial"/>
                <a:cs typeface="Arial"/>
              </a:rPr>
              <a:t>Item Category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tx1"/>
                </a:solidFill>
              </a:rPr>
              <a:t>Item Category-Control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solidFill>
                  <a:schemeClr val="tx1"/>
                </a:solidFill>
                <a:latin typeface="Arial"/>
                <a:cs typeface="Arial"/>
              </a:rPr>
              <a:t>Schedule Line Categories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tx1"/>
                </a:solidFill>
              </a:rPr>
              <a:t>Schedule Line </a:t>
            </a:r>
            <a:r>
              <a:rPr lang="en-US" altLang="en-US" dirty="0" smtClean="0">
                <a:solidFill>
                  <a:schemeClr val="tx1"/>
                </a:solidFill>
              </a:rPr>
              <a:t>Category-Controls</a:t>
            </a:r>
            <a:endParaRPr lang="en-US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7549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ales Document Type -</a:t>
            </a:r>
            <a:r>
              <a:rPr spc="-70" dirty="0"/>
              <a:t> </a:t>
            </a:r>
            <a:r>
              <a:rPr dirty="0"/>
              <a:t>Controls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1200150"/>
            <a:ext cx="4572000" cy="52006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2912" y="1185862"/>
            <a:ext cx="4600575" cy="5229225"/>
          </a:xfrm>
          <a:custGeom>
            <a:avLst/>
            <a:gdLst/>
            <a:ahLst/>
            <a:cxnLst/>
            <a:rect l="l" t="t" r="r" b="b"/>
            <a:pathLst>
              <a:path w="4600575" h="5229225">
                <a:moveTo>
                  <a:pt x="0" y="5229225"/>
                </a:moveTo>
                <a:lnTo>
                  <a:pt x="4600575" y="5229225"/>
                </a:lnTo>
                <a:lnTo>
                  <a:pt x="4600575" y="0"/>
                </a:lnTo>
                <a:lnTo>
                  <a:pt x="0" y="0"/>
                </a:lnTo>
                <a:lnTo>
                  <a:pt x="0" y="52292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185028" y="1260094"/>
            <a:ext cx="3639820" cy="50167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ales document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are </a:t>
            </a:r>
            <a:r>
              <a:rPr sz="1600" b="1" spc="-10" dirty="0">
                <a:latin typeface="Arial"/>
                <a:cs typeface="Arial"/>
              </a:rPr>
              <a:t>not  </a:t>
            </a:r>
            <a:r>
              <a:rPr sz="1600" b="1" spc="-5" dirty="0">
                <a:latin typeface="Arial"/>
                <a:cs typeface="Arial"/>
              </a:rPr>
              <a:t>isolated </a:t>
            </a:r>
            <a:r>
              <a:rPr sz="1600" b="1" spc="-10" dirty="0">
                <a:latin typeface="Arial"/>
                <a:cs typeface="Arial"/>
              </a:rPr>
              <a:t>but </a:t>
            </a:r>
            <a:r>
              <a:rPr sz="1600" b="1" spc="-5" dirty="0">
                <a:latin typeface="Arial"/>
                <a:cs typeface="Arial"/>
              </a:rPr>
              <a:t>are always closely linked 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and billing</a:t>
            </a:r>
            <a:r>
              <a:rPr sz="1600" b="1" spc="114" dirty="0">
                <a:latin typeface="Arial"/>
                <a:cs typeface="Arial"/>
              </a:rPr>
              <a:t> </a:t>
            </a:r>
            <a:r>
              <a:rPr sz="1600" b="1" spc="-10" dirty="0" smtClean="0">
                <a:latin typeface="Arial"/>
                <a:cs typeface="Arial"/>
              </a:rPr>
              <a:t>types</a:t>
            </a:r>
            <a:endParaRPr sz="1650" dirty="0">
              <a:latin typeface="Times New Roman"/>
              <a:cs typeface="Times New Roman"/>
            </a:endParaRPr>
          </a:p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5" dirty="0">
                <a:latin typeface="Arial"/>
                <a:cs typeface="Arial"/>
              </a:rPr>
              <a:t>Also </a:t>
            </a:r>
            <a:r>
              <a:rPr sz="1600" b="1" spc="-5" dirty="0">
                <a:latin typeface="Arial"/>
                <a:cs typeface="Arial"/>
              </a:rPr>
              <a:t>the information </a:t>
            </a:r>
            <a:r>
              <a:rPr sz="1600" b="1" spc="-10" dirty="0">
                <a:latin typeface="Arial"/>
                <a:cs typeface="Arial"/>
              </a:rPr>
              <a:t>relevant</a:t>
            </a:r>
            <a:r>
              <a:rPr sz="1600" b="1" spc="1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for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buClr>
                <a:srgbClr val="00B0F0"/>
              </a:buClr>
            </a:pPr>
            <a:r>
              <a:rPr lang="en-US" sz="1600" b="1" spc="-5" dirty="0" smtClean="0">
                <a:latin typeface="Arial"/>
                <a:cs typeface="Arial"/>
              </a:rPr>
              <a:t>     </a:t>
            </a:r>
            <a:r>
              <a:rPr sz="1600" b="1" spc="-5" dirty="0" smtClean="0">
                <a:latin typeface="Arial"/>
                <a:cs typeface="Arial"/>
              </a:rPr>
              <a:t>enhancement </a:t>
            </a:r>
            <a:r>
              <a:rPr sz="1600" b="1" spc="-10" dirty="0">
                <a:latin typeface="Arial"/>
                <a:cs typeface="Arial"/>
              </a:rPr>
              <a:t>for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contracts</a:t>
            </a:r>
            <a:endParaRPr sz="1650" dirty="0">
              <a:latin typeface="Times New Roman"/>
              <a:cs typeface="Times New Roman"/>
            </a:endParaRPr>
          </a:p>
          <a:p>
            <a:pPr marL="298450" marR="14732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In addition to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definition and  control of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ales document </a:t>
            </a:r>
            <a:r>
              <a:rPr sz="1600" b="1" spc="-15" dirty="0">
                <a:latin typeface="Arial"/>
                <a:cs typeface="Arial"/>
              </a:rPr>
              <a:t>types  </a:t>
            </a:r>
            <a:r>
              <a:rPr sz="1600" b="1" spc="-10" dirty="0">
                <a:latin typeface="Arial"/>
                <a:cs typeface="Arial"/>
              </a:rPr>
              <a:t>themselves,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must also take </a:t>
            </a:r>
            <a:r>
              <a:rPr sz="1600" b="1" spc="-10" dirty="0">
                <a:latin typeface="Arial"/>
                <a:cs typeface="Arial"/>
              </a:rPr>
              <a:t>the  </a:t>
            </a:r>
            <a:r>
              <a:rPr sz="1600" b="1" dirty="0">
                <a:latin typeface="Arial"/>
                <a:cs typeface="Arial"/>
              </a:rPr>
              <a:t>following </a:t>
            </a:r>
            <a:r>
              <a:rPr sz="1600" b="1" spc="-5" dirty="0">
                <a:latin typeface="Arial"/>
                <a:cs typeface="Arial"/>
              </a:rPr>
              <a:t>settings into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ccount:</a:t>
            </a:r>
            <a:endParaRPr sz="16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5" dirty="0">
                <a:latin typeface="Arial"/>
                <a:cs typeface="Arial"/>
              </a:rPr>
              <a:t>language</a:t>
            </a:r>
            <a:r>
              <a:rPr sz="1500" b="1" spc="-40" dirty="0">
                <a:latin typeface="Arial"/>
                <a:cs typeface="Arial"/>
              </a:rPr>
              <a:t> </a:t>
            </a:r>
            <a:r>
              <a:rPr sz="1500" b="1" spc="-10" dirty="0">
                <a:latin typeface="Arial"/>
                <a:cs typeface="Arial"/>
              </a:rPr>
              <a:t>conversion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10" dirty="0">
                <a:latin typeface="Arial"/>
                <a:cs typeface="Arial"/>
              </a:rPr>
              <a:t>number</a:t>
            </a:r>
            <a:r>
              <a:rPr sz="1500" b="1" spc="-25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ranges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5" dirty="0">
                <a:latin typeface="Arial"/>
                <a:cs typeface="Arial"/>
              </a:rPr>
              <a:t>screen sequence</a:t>
            </a:r>
            <a:r>
              <a:rPr sz="1500" b="1" spc="-5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groups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5" dirty="0">
                <a:latin typeface="Arial"/>
                <a:cs typeface="Arial"/>
              </a:rPr>
              <a:t>field selection per document</a:t>
            </a:r>
            <a:r>
              <a:rPr sz="1500" b="1" spc="6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header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5" dirty="0">
                <a:latin typeface="Arial"/>
                <a:cs typeface="Arial"/>
              </a:rPr>
              <a:t>blocks per sales document</a:t>
            </a:r>
            <a:r>
              <a:rPr sz="1500" b="1" spc="15" dirty="0">
                <a:latin typeface="Arial"/>
                <a:cs typeface="Arial"/>
              </a:rPr>
              <a:t> </a:t>
            </a:r>
            <a:r>
              <a:rPr sz="1500" b="1" spc="-15" dirty="0">
                <a:latin typeface="Arial"/>
                <a:cs typeface="Arial"/>
              </a:rPr>
              <a:t>type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5" dirty="0">
                <a:latin typeface="Arial"/>
                <a:cs typeface="Arial"/>
              </a:rPr>
              <a:t>reasons </a:t>
            </a:r>
            <a:r>
              <a:rPr sz="1500" b="1" spc="-10" dirty="0">
                <a:latin typeface="Arial"/>
                <a:cs typeface="Arial"/>
              </a:rPr>
              <a:t>for</a:t>
            </a:r>
            <a:r>
              <a:rPr sz="1500" b="1" spc="-25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rejection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500" b="1" spc="-5" dirty="0">
                <a:latin typeface="Arial"/>
                <a:cs typeface="Arial"/>
              </a:rPr>
              <a:t>usage</a:t>
            </a:r>
            <a:r>
              <a:rPr sz="1500" b="1" spc="-7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indicators</a:t>
            </a:r>
            <a:endParaRPr sz="1500" dirty="0">
              <a:latin typeface="Arial"/>
              <a:cs typeface="Arial"/>
            </a:endParaRPr>
          </a:p>
          <a:p>
            <a:pPr marL="755651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3350" algn="l"/>
              </a:tabLst>
            </a:pPr>
            <a:r>
              <a:rPr sz="1500" b="1" spc="-15" dirty="0">
                <a:latin typeface="Arial"/>
                <a:cs typeface="Arial"/>
              </a:rPr>
              <a:t>Assign </a:t>
            </a:r>
            <a:r>
              <a:rPr sz="1500" b="1" spc="-5" dirty="0">
                <a:latin typeface="Arial"/>
                <a:cs typeface="Arial"/>
              </a:rPr>
              <a:t>Sales area to</a:t>
            </a:r>
            <a:r>
              <a:rPr sz="1500" b="1" spc="50" dirty="0">
                <a:latin typeface="Arial"/>
                <a:cs typeface="Arial"/>
              </a:rPr>
              <a:t> </a:t>
            </a:r>
            <a:r>
              <a:rPr sz="1500" b="1" spc="-5" dirty="0" smtClean="0">
                <a:latin typeface="Arial"/>
                <a:cs typeface="Arial"/>
              </a:rPr>
              <a:t>Sales</a:t>
            </a:r>
            <a:r>
              <a:rPr lang="en-US" sz="1500" dirty="0">
                <a:latin typeface="Arial"/>
                <a:cs typeface="Arial"/>
              </a:rPr>
              <a:t> </a:t>
            </a:r>
            <a:r>
              <a:rPr sz="1500" b="1" spc="-5" dirty="0" smtClean="0">
                <a:latin typeface="Arial"/>
                <a:cs typeface="Arial"/>
              </a:rPr>
              <a:t>Document</a:t>
            </a:r>
            <a:r>
              <a:rPr sz="1500" b="1" spc="-60" dirty="0" smtClean="0">
                <a:latin typeface="Arial"/>
                <a:cs typeface="Arial"/>
              </a:rPr>
              <a:t> </a:t>
            </a:r>
            <a:r>
              <a:rPr sz="1500" b="1" spc="-15" dirty="0">
                <a:latin typeface="Arial"/>
                <a:cs typeface="Arial"/>
              </a:rPr>
              <a:t>types</a:t>
            </a:r>
            <a:endParaRPr sz="15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17500" y="3241738"/>
            <a:ext cx="2197100" cy="929005"/>
          </a:xfrm>
          <a:prstGeom prst="rect">
            <a:avLst/>
          </a:prstGeom>
          <a:solidFill>
            <a:srgbClr val="F6BE69"/>
          </a:solidFill>
          <a:ln w="12700">
            <a:solidFill>
              <a:srgbClr val="808080"/>
            </a:solidFill>
          </a:ln>
        </p:spPr>
        <p:txBody>
          <a:bodyPr vert="horz" wrap="square" lIns="0" tIns="34290" rIns="0" bIns="0" rtlCol="0">
            <a:spAutoFit/>
          </a:bodyPr>
          <a:lstStyle/>
          <a:p>
            <a:pPr marL="85725">
              <a:lnSpc>
                <a:spcPct val="100000"/>
              </a:lnSpc>
              <a:spcBef>
                <a:spcPts val="270"/>
              </a:spcBef>
            </a:pPr>
            <a:r>
              <a:rPr sz="1800" b="1" spc="-30" dirty="0">
                <a:latin typeface="Arial"/>
                <a:cs typeface="Arial"/>
              </a:rPr>
              <a:t>AF </a:t>
            </a:r>
            <a:r>
              <a:rPr sz="1800" b="1" dirty="0">
                <a:latin typeface="Arial"/>
                <a:cs typeface="Arial"/>
              </a:rPr>
              <a:t>=</a:t>
            </a:r>
            <a:r>
              <a:rPr sz="1800" b="1" spc="-2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Inquiry</a:t>
            </a:r>
            <a:endParaRPr sz="1800">
              <a:latin typeface="Arial"/>
              <a:cs typeface="Arial"/>
            </a:endParaRPr>
          </a:p>
          <a:p>
            <a:pPr marL="85725" marR="270510">
              <a:lnSpc>
                <a:spcPct val="100000"/>
              </a:lnSpc>
            </a:pPr>
            <a:r>
              <a:rPr sz="1800" b="1" spc="-70" dirty="0">
                <a:latin typeface="Arial"/>
                <a:cs typeface="Arial"/>
              </a:rPr>
              <a:t>TA </a:t>
            </a:r>
            <a:r>
              <a:rPr sz="1800" b="1" dirty="0">
                <a:latin typeface="Arial"/>
                <a:cs typeface="Arial"/>
              </a:rPr>
              <a:t>=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dirty="0">
                <a:latin typeface="Arial"/>
                <a:cs typeface="Arial"/>
              </a:rPr>
              <a:t>Order  </a:t>
            </a:r>
            <a:r>
              <a:rPr sz="1800" b="1" spc="-30" dirty="0">
                <a:latin typeface="Arial"/>
                <a:cs typeface="Arial"/>
              </a:rPr>
              <a:t>AG </a:t>
            </a:r>
            <a:r>
              <a:rPr sz="1800" b="1" dirty="0">
                <a:latin typeface="Arial"/>
                <a:cs typeface="Arial"/>
              </a:rPr>
              <a:t>=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Quotation</a:t>
            </a:r>
            <a:endParaRPr sz="18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105400" y="1295400"/>
            <a:ext cx="1576451" cy="7016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038344" y="1258824"/>
            <a:ext cx="1514855" cy="4206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038344" y="1563624"/>
            <a:ext cx="867155" cy="4206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561076" y="1563624"/>
            <a:ext cx="414527" cy="4206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185664" y="1334642"/>
            <a:ext cx="1128395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Standard  Item</a:t>
            </a:r>
            <a:endParaRPr sz="20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105400" y="2743200"/>
            <a:ext cx="1551051" cy="7016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038344" y="2706623"/>
            <a:ext cx="1539240" cy="4206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038344" y="3011423"/>
            <a:ext cx="1530096" cy="4206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24015" y="3011423"/>
            <a:ext cx="414528" cy="4206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185664" y="2782696"/>
            <a:ext cx="1210945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Item Free  of</a:t>
            </a:r>
            <a:r>
              <a:rPr sz="2000" b="1" spc="-1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Charge</a:t>
            </a:r>
            <a:endParaRPr sz="20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105400" y="3994150"/>
            <a:ext cx="1600200" cy="70167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038344" y="3957828"/>
            <a:ext cx="839724" cy="42062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533644" y="3957828"/>
            <a:ext cx="429768" cy="42062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618988" y="3957828"/>
            <a:ext cx="1074419" cy="42062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038344" y="4262628"/>
            <a:ext cx="867155" cy="42062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561076" y="4262628"/>
            <a:ext cx="414527" cy="4206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5185664" y="4033901"/>
            <a:ext cx="1271905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Non-stock  Item</a:t>
            </a:r>
            <a:endParaRPr sz="20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5105400" y="5249862"/>
            <a:ext cx="1600200" cy="39687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038344" y="5212079"/>
            <a:ext cx="1438655" cy="42062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132576" y="5212079"/>
            <a:ext cx="414527" cy="42062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5185664" y="5290058"/>
            <a:ext cx="1121410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35" dirty="0">
                <a:solidFill>
                  <a:srgbClr val="FFFFFF"/>
                </a:solidFill>
                <a:latin typeface="Arial"/>
                <a:cs typeface="Arial"/>
              </a:rPr>
              <a:t>Text</a:t>
            </a:r>
            <a:r>
              <a:rPr sz="2000" b="1" spc="-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endParaRPr sz="20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774950" y="1143000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5715" rIns="0" bIns="0" rtlCol="0">
            <a:spAutoFit/>
          </a:bodyPr>
          <a:lstStyle/>
          <a:p>
            <a:pPr marL="393700">
              <a:lnSpc>
                <a:spcPct val="100000"/>
              </a:lnSpc>
              <a:spcBef>
                <a:spcPts val="45"/>
              </a:spcBef>
            </a:pPr>
            <a:r>
              <a:rPr sz="1800" b="1" spc="-20" dirty="0">
                <a:solidFill>
                  <a:srgbClr val="808080"/>
                </a:solidFill>
                <a:latin typeface="Arial"/>
                <a:cs typeface="Arial"/>
              </a:rPr>
              <a:t>AFN</a:t>
            </a:r>
            <a:endParaRPr sz="18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774950" y="1543050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374015">
              <a:lnSpc>
                <a:spcPct val="100000"/>
              </a:lnSpc>
              <a:spcBef>
                <a:spcPts val="50"/>
              </a:spcBef>
            </a:pPr>
            <a:r>
              <a:rPr sz="1800" b="1" spc="-20" dirty="0">
                <a:solidFill>
                  <a:srgbClr val="808080"/>
                </a:solidFill>
                <a:latin typeface="Arial"/>
                <a:cs typeface="Arial"/>
              </a:rPr>
              <a:t>AGN</a:t>
            </a:r>
            <a:endParaRPr sz="18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774950" y="1952625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401320">
              <a:lnSpc>
                <a:spcPct val="100000"/>
              </a:lnSpc>
              <a:spcBef>
                <a:spcPts val="50"/>
              </a:spcBef>
            </a:pPr>
            <a:r>
              <a:rPr sz="1800" b="1" spc="-65" dirty="0">
                <a:solidFill>
                  <a:srgbClr val="808080"/>
                </a:solidFill>
                <a:latin typeface="Arial"/>
                <a:cs typeface="Arial"/>
              </a:rPr>
              <a:t>TAN</a:t>
            </a:r>
            <a:endParaRPr sz="18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774950" y="2417698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311785">
              <a:lnSpc>
                <a:spcPct val="100000"/>
              </a:lnSpc>
              <a:spcBef>
                <a:spcPts val="50"/>
              </a:spcBef>
            </a:pPr>
            <a:r>
              <a:rPr sz="1800" b="1" spc="-15" dirty="0">
                <a:solidFill>
                  <a:srgbClr val="808080"/>
                </a:solidFill>
                <a:latin typeface="Arial"/>
                <a:cs typeface="Arial"/>
              </a:rPr>
              <a:t>AFNN</a:t>
            </a:r>
            <a:endParaRPr sz="18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774950" y="2832100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291465">
              <a:lnSpc>
                <a:spcPct val="100000"/>
              </a:lnSpc>
              <a:spcBef>
                <a:spcPts val="50"/>
              </a:spcBef>
            </a:pPr>
            <a:r>
              <a:rPr sz="1800" b="1" spc="-15" dirty="0">
                <a:solidFill>
                  <a:srgbClr val="808080"/>
                </a:solidFill>
                <a:latin typeface="Arial"/>
                <a:cs typeface="Arial"/>
              </a:rPr>
              <a:t>AGNN</a:t>
            </a:r>
            <a:endParaRPr sz="18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774950" y="3251200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319405">
              <a:lnSpc>
                <a:spcPct val="100000"/>
              </a:lnSpc>
              <a:spcBef>
                <a:spcPts val="50"/>
              </a:spcBef>
            </a:pPr>
            <a:r>
              <a:rPr sz="1800" b="1" spc="-50" dirty="0">
                <a:solidFill>
                  <a:srgbClr val="808080"/>
                </a:solidFill>
                <a:latin typeface="Arial"/>
                <a:cs typeface="Arial"/>
              </a:rPr>
              <a:t>TANN</a:t>
            </a:r>
            <a:endParaRPr sz="18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774950" y="3733800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400050">
              <a:lnSpc>
                <a:spcPct val="100000"/>
              </a:lnSpc>
              <a:spcBef>
                <a:spcPts val="50"/>
              </a:spcBef>
            </a:pPr>
            <a:r>
              <a:rPr sz="1800" b="1" spc="-20" dirty="0">
                <a:solidFill>
                  <a:srgbClr val="808080"/>
                </a:solidFill>
                <a:latin typeface="Arial"/>
                <a:cs typeface="Arial"/>
              </a:rPr>
              <a:t>AFX</a:t>
            </a:r>
            <a:endParaRPr sz="180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774950" y="4124325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350" rIns="0" bIns="0" rtlCol="0">
            <a:spAutoFit/>
          </a:bodyPr>
          <a:lstStyle/>
          <a:p>
            <a:pPr marL="379730">
              <a:lnSpc>
                <a:spcPct val="100000"/>
              </a:lnSpc>
              <a:spcBef>
                <a:spcPts val="50"/>
              </a:spcBef>
            </a:pPr>
            <a:r>
              <a:rPr sz="1800" b="1" spc="-20" dirty="0">
                <a:solidFill>
                  <a:srgbClr val="808080"/>
                </a:solidFill>
                <a:latin typeface="Arial"/>
                <a:cs typeface="Arial"/>
              </a:rPr>
              <a:t>AGX</a:t>
            </a:r>
            <a:endParaRPr sz="180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774950" y="4510023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 marL="407670">
              <a:lnSpc>
                <a:spcPct val="100000"/>
              </a:lnSpc>
              <a:spcBef>
                <a:spcPts val="55"/>
              </a:spcBef>
            </a:pPr>
            <a:r>
              <a:rPr sz="1800" b="1" spc="-65" dirty="0">
                <a:solidFill>
                  <a:srgbClr val="808080"/>
                </a:solidFill>
                <a:latin typeface="Arial"/>
                <a:cs typeface="Arial"/>
              </a:rPr>
              <a:t>TAX</a:t>
            </a:r>
            <a:endParaRPr sz="18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774950" y="4953000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 marL="329565">
              <a:lnSpc>
                <a:spcPct val="100000"/>
              </a:lnSpc>
              <a:spcBef>
                <a:spcPts val="55"/>
              </a:spcBef>
            </a:pPr>
            <a:r>
              <a:rPr sz="1800" b="1" spc="-15" dirty="0">
                <a:solidFill>
                  <a:srgbClr val="808080"/>
                </a:solidFill>
                <a:latin typeface="Arial"/>
                <a:cs typeface="Arial"/>
              </a:rPr>
              <a:t>AFTX</a:t>
            </a:r>
            <a:endParaRPr sz="180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774950" y="5348287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 marL="309880">
              <a:lnSpc>
                <a:spcPct val="100000"/>
              </a:lnSpc>
              <a:spcBef>
                <a:spcPts val="55"/>
              </a:spcBef>
            </a:pPr>
            <a:r>
              <a:rPr sz="1800" b="1" spc="-15" dirty="0">
                <a:solidFill>
                  <a:srgbClr val="808080"/>
                </a:solidFill>
                <a:latin typeface="Arial"/>
                <a:cs typeface="Arial"/>
              </a:rPr>
              <a:t>AGTX</a:t>
            </a:r>
            <a:endParaRPr sz="180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774950" y="5743575"/>
            <a:ext cx="1263650" cy="311150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6985" rIns="0" bIns="0" rtlCol="0">
            <a:spAutoFit/>
          </a:bodyPr>
          <a:lstStyle/>
          <a:p>
            <a:pPr marL="346710">
              <a:lnSpc>
                <a:spcPct val="100000"/>
              </a:lnSpc>
              <a:spcBef>
                <a:spcPts val="55"/>
              </a:spcBef>
            </a:pPr>
            <a:r>
              <a:rPr sz="1800" b="1" spc="-80" dirty="0">
                <a:solidFill>
                  <a:srgbClr val="808080"/>
                </a:solidFill>
                <a:latin typeface="Arial"/>
                <a:cs typeface="Arial"/>
              </a:rPr>
              <a:t>TATX</a:t>
            </a:r>
            <a:endParaRPr sz="18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192651" y="1371600"/>
            <a:ext cx="771525" cy="66192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192651" y="1371600"/>
            <a:ext cx="771525" cy="662305"/>
          </a:xfrm>
          <a:custGeom>
            <a:avLst/>
            <a:gdLst/>
            <a:ahLst/>
            <a:cxnLst/>
            <a:rect l="l" t="t" r="r" b="b"/>
            <a:pathLst>
              <a:path w="771525" h="662305">
                <a:moveTo>
                  <a:pt x="0" y="661924"/>
                </a:moveTo>
                <a:lnTo>
                  <a:pt x="771525" y="331088"/>
                </a:lnTo>
                <a:lnTo>
                  <a:pt x="0" y="0"/>
                </a:lnTo>
                <a:lnTo>
                  <a:pt x="0" y="66192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192651" y="2733675"/>
            <a:ext cx="771525" cy="66192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192651" y="2733675"/>
            <a:ext cx="771525" cy="662305"/>
          </a:xfrm>
          <a:custGeom>
            <a:avLst/>
            <a:gdLst/>
            <a:ahLst/>
            <a:cxnLst/>
            <a:rect l="l" t="t" r="r" b="b"/>
            <a:pathLst>
              <a:path w="771525" h="662304">
                <a:moveTo>
                  <a:pt x="0" y="661924"/>
                </a:moveTo>
                <a:lnTo>
                  <a:pt x="771525" y="374523"/>
                </a:lnTo>
                <a:lnTo>
                  <a:pt x="0" y="0"/>
                </a:lnTo>
                <a:lnTo>
                  <a:pt x="0" y="66192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186935" y="4003675"/>
            <a:ext cx="775588" cy="66192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186935" y="4003675"/>
            <a:ext cx="775970" cy="662305"/>
          </a:xfrm>
          <a:custGeom>
            <a:avLst/>
            <a:gdLst/>
            <a:ahLst/>
            <a:cxnLst/>
            <a:rect l="l" t="t" r="r" b="b"/>
            <a:pathLst>
              <a:path w="775970" h="662304">
                <a:moveTo>
                  <a:pt x="0" y="661924"/>
                </a:moveTo>
                <a:lnTo>
                  <a:pt x="775588" y="340613"/>
                </a:lnTo>
                <a:lnTo>
                  <a:pt x="8127" y="0"/>
                </a:lnTo>
                <a:lnTo>
                  <a:pt x="0" y="66192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192651" y="5105400"/>
            <a:ext cx="771525" cy="66198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192651" y="5105400"/>
            <a:ext cx="771525" cy="662305"/>
          </a:xfrm>
          <a:custGeom>
            <a:avLst/>
            <a:gdLst/>
            <a:ahLst/>
            <a:cxnLst/>
            <a:rect l="l" t="t" r="r" b="b"/>
            <a:pathLst>
              <a:path w="771525" h="662304">
                <a:moveTo>
                  <a:pt x="0" y="661987"/>
                </a:moveTo>
                <a:lnTo>
                  <a:pt x="771525" y="331088"/>
                </a:lnTo>
                <a:lnTo>
                  <a:pt x="0" y="0"/>
                </a:lnTo>
                <a:lnTo>
                  <a:pt x="0" y="6619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>
            <a:spLocks noGrp="1"/>
          </p:cNvSpPr>
          <p:nvPr>
            <p:ph type="title"/>
          </p:nvPr>
        </p:nvSpPr>
        <p:spPr>
          <a:xfrm>
            <a:off x="285750" y="214781"/>
            <a:ext cx="3752850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Item</a:t>
            </a:r>
            <a:r>
              <a:rPr spc="-100" dirty="0"/>
              <a:t> </a:t>
            </a:r>
            <a:r>
              <a:rPr dirty="0"/>
              <a:t>Category</a:t>
            </a:r>
          </a:p>
        </p:txBody>
      </p:sp>
      <p:sp>
        <p:nvSpPr>
          <p:cNvPr id="45" name="object 45"/>
          <p:cNvSpPr txBox="1"/>
          <p:nvPr/>
        </p:nvSpPr>
        <p:spPr>
          <a:xfrm>
            <a:off x="300535" y="6070314"/>
            <a:ext cx="822579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b="1" spc="-55" dirty="0">
                <a:latin typeface="Arial"/>
                <a:cs typeface="Arial"/>
              </a:rPr>
              <a:t>To </a:t>
            </a:r>
            <a:r>
              <a:rPr sz="1400" b="1" spc="-5" dirty="0">
                <a:latin typeface="Arial"/>
                <a:cs typeface="Arial"/>
              </a:rPr>
              <a:t>configure </a:t>
            </a:r>
            <a:r>
              <a:rPr sz="1400" b="1" dirty="0">
                <a:latin typeface="Arial"/>
                <a:cs typeface="Arial"/>
              </a:rPr>
              <a:t>Item </a:t>
            </a:r>
            <a:r>
              <a:rPr sz="1400" b="1" spc="-5" dirty="0">
                <a:latin typeface="Arial"/>
                <a:cs typeface="Arial"/>
              </a:rPr>
              <a:t>Categories: </a:t>
            </a:r>
            <a:r>
              <a:rPr sz="1400" b="1" spc="5" dirty="0">
                <a:latin typeface="Arial"/>
                <a:cs typeface="Arial"/>
              </a:rPr>
              <a:t>IMG </a:t>
            </a:r>
            <a:r>
              <a:rPr sz="1400" b="1" dirty="0">
                <a:latin typeface="Arial"/>
                <a:cs typeface="Arial"/>
              </a:rPr>
              <a:t>-&gt;Sales </a:t>
            </a:r>
            <a:r>
              <a:rPr sz="1400" b="1" spc="-5" dirty="0">
                <a:latin typeface="Arial"/>
                <a:cs typeface="Arial"/>
              </a:rPr>
              <a:t>and Distribution </a:t>
            </a:r>
            <a:r>
              <a:rPr sz="1400" b="1" dirty="0">
                <a:latin typeface="Arial"/>
                <a:cs typeface="Arial"/>
              </a:rPr>
              <a:t>-&gt; Sales -&gt; Sales </a:t>
            </a:r>
            <a:r>
              <a:rPr sz="1400" b="1" spc="-5" dirty="0">
                <a:latin typeface="Arial"/>
                <a:cs typeface="Arial"/>
              </a:rPr>
              <a:t>Documents </a:t>
            </a:r>
            <a:r>
              <a:rPr sz="1400" b="1" dirty="0">
                <a:latin typeface="Arial"/>
                <a:cs typeface="Arial"/>
              </a:rPr>
              <a:t>-&gt; Sales  </a:t>
            </a:r>
            <a:r>
              <a:rPr sz="1400" b="1" spc="-5" dirty="0">
                <a:latin typeface="Arial"/>
                <a:cs typeface="Arial"/>
              </a:rPr>
              <a:t>document </a:t>
            </a:r>
            <a:r>
              <a:rPr sz="1400" b="1" dirty="0">
                <a:latin typeface="Arial"/>
                <a:cs typeface="Arial"/>
              </a:rPr>
              <a:t>Item -&gt; </a:t>
            </a:r>
            <a:r>
              <a:rPr sz="1400" b="1" spc="-5" dirty="0">
                <a:latin typeface="Arial"/>
                <a:cs typeface="Arial"/>
              </a:rPr>
              <a:t>Define </a:t>
            </a:r>
            <a:r>
              <a:rPr sz="1400" b="1" dirty="0">
                <a:latin typeface="Arial"/>
                <a:cs typeface="Arial"/>
              </a:rPr>
              <a:t>Item</a:t>
            </a:r>
            <a:r>
              <a:rPr sz="1400" b="1" spc="-114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Categorie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6861428" y="1132206"/>
            <a:ext cx="2131695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item </a:t>
            </a:r>
            <a:r>
              <a:rPr sz="1400" b="1" spc="-5" dirty="0">
                <a:latin typeface="Arial"/>
                <a:cs typeface="Arial"/>
              </a:rPr>
              <a:t>category  controls the function</a:t>
            </a:r>
            <a:r>
              <a:rPr sz="1400" b="1" spc="-14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of  the </a:t>
            </a:r>
            <a:r>
              <a:rPr sz="1400" b="1" dirty="0">
                <a:latin typeface="Arial"/>
                <a:cs typeface="Arial"/>
              </a:rPr>
              <a:t>item in </a:t>
            </a: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sales  </a:t>
            </a:r>
            <a:r>
              <a:rPr sz="1400" b="1" spc="-5" dirty="0">
                <a:latin typeface="Arial"/>
                <a:cs typeface="Arial"/>
              </a:rPr>
              <a:t>document.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861429" y="2021585"/>
            <a:ext cx="1847850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400" b="1" spc="-5" dirty="0">
                <a:latin typeface="Arial"/>
                <a:cs typeface="Arial"/>
              </a:rPr>
              <a:t>For </a:t>
            </a:r>
            <a:r>
              <a:rPr sz="1400" b="1" dirty="0">
                <a:latin typeface="Arial"/>
                <a:cs typeface="Arial"/>
              </a:rPr>
              <a:t>example, </a:t>
            </a:r>
            <a:r>
              <a:rPr sz="1400" b="1" spc="-5" dirty="0">
                <a:latin typeface="Arial"/>
                <a:cs typeface="Arial"/>
              </a:rPr>
              <a:t>the</a:t>
            </a:r>
            <a:r>
              <a:rPr sz="1400" b="1" spc="-145" dirty="0">
                <a:latin typeface="Arial"/>
                <a:cs typeface="Arial"/>
              </a:rPr>
              <a:t> </a:t>
            </a:r>
            <a:r>
              <a:rPr sz="1400" b="1" dirty="0" smtClean="0">
                <a:latin typeface="Arial"/>
                <a:cs typeface="Arial"/>
              </a:rPr>
              <a:t>item</a:t>
            </a:r>
            <a:r>
              <a:rPr lang="en-US" sz="1400" b="1" dirty="0" smtClean="0">
                <a:latin typeface="Arial"/>
                <a:cs typeface="Arial"/>
              </a:rPr>
              <a:t> </a:t>
            </a:r>
            <a:r>
              <a:rPr sz="1400" b="1" dirty="0" smtClean="0">
                <a:latin typeface="Arial"/>
                <a:cs typeface="Arial"/>
              </a:rPr>
              <a:t>category </a:t>
            </a:r>
            <a:r>
              <a:rPr sz="1400" b="1" spc="-5" dirty="0">
                <a:latin typeface="Arial"/>
                <a:cs typeface="Arial"/>
              </a:rPr>
              <a:t>controls the  </a:t>
            </a:r>
            <a:r>
              <a:rPr sz="1400" b="1" spc="-15" dirty="0">
                <a:latin typeface="Arial"/>
                <a:cs typeface="Arial"/>
              </a:rPr>
              <a:t>type </a:t>
            </a:r>
            <a:r>
              <a:rPr sz="1400" b="1" spc="-5" dirty="0">
                <a:latin typeface="Arial"/>
                <a:cs typeface="Arial"/>
              </a:rPr>
              <a:t>and scope</a:t>
            </a:r>
            <a:r>
              <a:rPr sz="1400" b="1" spc="-6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of:</a:t>
            </a:r>
            <a:endParaRPr sz="1400" dirty="0">
              <a:latin typeface="Arial"/>
              <a:cs typeface="Arial"/>
            </a:endParaRP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218440" algn="l"/>
              </a:tabLst>
            </a:pPr>
            <a:r>
              <a:rPr sz="1400" b="1" dirty="0">
                <a:latin typeface="Arial"/>
                <a:cs typeface="Arial"/>
              </a:rPr>
              <a:t>Pricing</a:t>
            </a:r>
            <a:endParaRPr sz="1400" dirty="0">
              <a:latin typeface="Arial"/>
              <a:cs typeface="Arial"/>
            </a:endParaRP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267335" algn="l"/>
              </a:tabLst>
            </a:pPr>
            <a:r>
              <a:rPr sz="1400" b="1" spc="-5" dirty="0">
                <a:latin typeface="Arial"/>
                <a:cs typeface="Arial"/>
              </a:rPr>
              <a:t>Billing</a:t>
            </a:r>
            <a:endParaRPr sz="1400" dirty="0">
              <a:latin typeface="Arial"/>
              <a:cs typeface="Arial"/>
            </a:endParaRP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267335" algn="l"/>
              </a:tabLst>
            </a:pPr>
            <a:r>
              <a:rPr sz="1400" b="1" spc="-5" dirty="0">
                <a:latin typeface="Arial"/>
                <a:cs typeface="Arial"/>
              </a:rPr>
              <a:t>Delivery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6861429" y="3515486"/>
            <a:ext cx="2120900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400" b="1" spc="-5" dirty="0">
                <a:latin typeface="Arial"/>
                <a:cs typeface="Arial"/>
              </a:rPr>
              <a:t>Items in stock, and value  and text items</a:t>
            </a:r>
          </a:p>
          <a:p>
            <a:pPr marL="12700">
              <a:lnSpc>
                <a:spcPct val="100000"/>
              </a:lnSpc>
              <a:buClr>
                <a:srgbClr val="00B0F0"/>
              </a:buClr>
            </a:pPr>
            <a:r>
              <a:rPr lang="en-US" sz="1400" b="1" spc="-5" dirty="0" smtClean="0">
                <a:latin typeface="Arial"/>
                <a:cs typeface="Arial"/>
              </a:rPr>
              <a:t>      </a:t>
            </a:r>
            <a:r>
              <a:rPr sz="1400" b="1" spc="-5" dirty="0" smtClean="0">
                <a:latin typeface="Arial"/>
                <a:cs typeface="Arial"/>
              </a:rPr>
              <a:t>are </a:t>
            </a:r>
            <a:r>
              <a:rPr sz="1400" b="1" spc="-5" dirty="0">
                <a:latin typeface="Arial"/>
                <a:cs typeface="Arial"/>
              </a:rPr>
              <a:t>item categories.</a:t>
            </a:r>
          </a:p>
        </p:txBody>
      </p:sp>
      <p:sp>
        <p:nvSpPr>
          <p:cNvPr id="49" name="object 49"/>
          <p:cNvSpPr txBox="1"/>
          <p:nvPr/>
        </p:nvSpPr>
        <p:spPr>
          <a:xfrm>
            <a:off x="6861428" y="4262628"/>
            <a:ext cx="2131695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item </a:t>
            </a:r>
            <a:r>
              <a:rPr sz="1400" b="1" spc="-5" dirty="0">
                <a:latin typeface="Arial"/>
                <a:cs typeface="Arial"/>
              </a:rPr>
              <a:t>category </a:t>
            </a:r>
            <a:r>
              <a:rPr sz="1400" b="1" dirty="0">
                <a:latin typeface="Arial"/>
                <a:cs typeface="Arial"/>
              </a:rPr>
              <a:t>is a  </a:t>
            </a:r>
            <a:r>
              <a:rPr lang="en-US" sz="1400" b="1" dirty="0" smtClean="0">
                <a:latin typeface="Arial"/>
                <a:cs typeface="Arial"/>
              </a:rPr>
              <a:t>4 </a:t>
            </a:r>
            <a:r>
              <a:rPr sz="1400" b="1" spc="-5" dirty="0" smtClean="0">
                <a:latin typeface="Arial"/>
                <a:cs typeface="Arial"/>
              </a:rPr>
              <a:t>digit </a:t>
            </a:r>
            <a:r>
              <a:rPr sz="1400" b="1" spc="-40" dirty="0">
                <a:latin typeface="Arial"/>
                <a:cs typeface="Arial"/>
              </a:rPr>
              <a:t>key. </a:t>
            </a: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first  </a:t>
            </a:r>
            <a:r>
              <a:rPr lang="en-US" sz="1400" b="1" dirty="0" smtClean="0">
                <a:latin typeface="Arial"/>
                <a:cs typeface="Arial"/>
              </a:rPr>
              <a:t>2</a:t>
            </a:r>
            <a:r>
              <a:rPr sz="1400" b="1" spc="5" dirty="0" smtClean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haracters </a:t>
            </a:r>
            <a:r>
              <a:rPr sz="1400" b="1" spc="-5" dirty="0">
                <a:latin typeface="Arial"/>
                <a:cs typeface="Arial"/>
              </a:rPr>
              <a:t>provides  </a:t>
            </a:r>
            <a:r>
              <a:rPr sz="1400" b="1" dirty="0">
                <a:latin typeface="Arial"/>
                <a:cs typeface="Arial"/>
              </a:rPr>
              <a:t>a </a:t>
            </a:r>
            <a:r>
              <a:rPr sz="1400" b="1" spc="-5" dirty="0">
                <a:latin typeface="Arial"/>
                <a:cs typeface="Arial"/>
              </a:rPr>
              <a:t>clue </a:t>
            </a:r>
            <a:r>
              <a:rPr sz="1400" b="1" dirty="0">
                <a:latin typeface="Arial"/>
                <a:cs typeface="Arial"/>
              </a:rPr>
              <a:t>to sales</a:t>
            </a:r>
            <a:r>
              <a:rPr sz="1400" b="1" spc="-13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ocument  </a:t>
            </a:r>
            <a:r>
              <a:rPr sz="1400" b="1" spc="-15" dirty="0">
                <a:latin typeface="Arial"/>
                <a:cs typeface="Arial"/>
              </a:rPr>
              <a:t>type </a:t>
            </a:r>
            <a:r>
              <a:rPr sz="1400" b="1" spc="-5" dirty="0">
                <a:latin typeface="Arial"/>
                <a:cs typeface="Arial"/>
              </a:rPr>
              <a:t>and the </a:t>
            </a:r>
            <a:r>
              <a:rPr sz="1400" b="1" dirty="0">
                <a:latin typeface="Arial"/>
                <a:cs typeface="Arial"/>
              </a:rPr>
              <a:t>last </a:t>
            </a:r>
            <a:r>
              <a:rPr sz="1400" b="1" spc="10" dirty="0">
                <a:latin typeface="Arial"/>
                <a:cs typeface="Arial"/>
              </a:rPr>
              <a:t>two </a:t>
            </a:r>
            <a:r>
              <a:rPr sz="1400" b="1" spc="-5" dirty="0">
                <a:latin typeface="Arial"/>
                <a:cs typeface="Arial"/>
              </a:rPr>
              <a:t>for  the use of the </a:t>
            </a:r>
            <a:r>
              <a:rPr sz="1400" b="1" dirty="0">
                <a:latin typeface="Arial"/>
                <a:cs typeface="Arial"/>
              </a:rPr>
              <a:t>item  </a:t>
            </a:r>
            <a:r>
              <a:rPr sz="1400" b="1" spc="-20" dirty="0">
                <a:latin typeface="Arial"/>
                <a:cs typeface="Arial"/>
              </a:rPr>
              <a:t>category.</a:t>
            </a:r>
            <a:endParaRPr sz="14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4876865"/>
          </a:xfrm>
        </p:spPr>
        <p:txBody>
          <a:bodyPr/>
          <a:lstStyle/>
          <a:p>
            <a:r>
              <a:rPr lang="en-US" b="0" spc="-10" dirty="0" smtClean="0"/>
              <a:t>The </a:t>
            </a:r>
            <a:r>
              <a:rPr lang="en-US" b="0" spc="-5" dirty="0"/>
              <a:t>Item Category on a sales  document is determined on </a:t>
            </a:r>
            <a:r>
              <a:rPr lang="en-US" b="0" spc="-10" dirty="0"/>
              <a:t>the  </a:t>
            </a:r>
            <a:r>
              <a:rPr lang="en-US" b="0" spc="-5" dirty="0"/>
              <a:t>basis of sales document </a:t>
            </a:r>
            <a:r>
              <a:rPr lang="en-US" b="0" spc="-15" dirty="0"/>
              <a:t>type </a:t>
            </a:r>
            <a:r>
              <a:rPr lang="en-US" b="0" spc="-5" dirty="0"/>
              <a:t>and  item category group (material  </a:t>
            </a:r>
            <a:r>
              <a:rPr lang="en-US" b="0" spc="-5" dirty="0" smtClean="0"/>
              <a:t>master)</a:t>
            </a:r>
          </a:p>
          <a:p>
            <a:r>
              <a:rPr lang="en-US" b="0" spc="-10" dirty="0" smtClean="0"/>
              <a:t>The </a:t>
            </a:r>
            <a:r>
              <a:rPr lang="en-US" b="0" spc="-10" dirty="0"/>
              <a:t>Item Category on a sales  document </a:t>
            </a:r>
            <a:r>
              <a:rPr lang="en-US" b="0" spc="-10" dirty="0" smtClean="0"/>
              <a:t>controls: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pricing applies to the item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b="0" spc="-5" dirty="0" smtClean="0"/>
              <a:t>Whether </a:t>
            </a:r>
            <a:r>
              <a:rPr lang="en-US" sz="1800" b="0" spc="-5" dirty="0"/>
              <a:t>and how </a:t>
            </a:r>
            <a:r>
              <a:rPr lang="en-US" sz="1800" b="0" dirty="0"/>
              <a:t>an item is</a:t>
            </a:r>
            <a:r>
              <a:rPr lang="en-US" sz="1800" b="0" spc="-135" dirty="0"/>
              <a:t> </a:t>
            </a:r>
            <a:r>
              <a:rPr lang="en-US" sz="1800" b="0" dirty="0" smtClean="0"/>
              <a:t>billed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schedule lines are allowed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the item is a text/value or  material item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the item is relevant for delivery  (used only if the item is a text/value item)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ich data should appear in the  incompletion log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the item business data can  differ from the header business data on  the sales </a:t>
            </a:r>
            <a:r>
              <a:rPr lang="en-US" spc="-5" dirty="0" smtClean="0"/>
              <a:t>document</a:t>
            </a:r>
            <a:endParaRPr lang="en-US" spc="-5" dirty="0"/>
          </a:p>
          <a:p>
            <a:pPr marL="2857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5" dirty="0">
                <a:solidFill>
                  <a:schemeClr val="tx1"/>
                </a:solidFill>
                <a:latin typeface="Arial"/>
                <a:cs typeface="Arial"/>
              </a:rPr>
              <a:t>The Item Category for the sub item on a sales document is determined by Sales document  type, Item category group and Item category of higher level </a:t>
            </a:r>
            <a:r>
              <a:rPr lang="en-US" sz="2200" spc="-5" dirty="0" smtClean="0">
                <a:solidFill>
                  <a:schemeClr val="tx1"/>
                </a:solidFill>
                <a:latin typeface="Arial"/>
                <a:cs typeface="Arial"/>
              </a:rPr>
              <a:t>item</a:t>
            </a:r>
            <a:endParaRPr lang="en-US" dirty="0"/>
          </a:p>
          <a:p>
            <a:endParaRPr lang="en-US" dirty="0"/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Item Categories -</a:t>
            </a:r>
            <a:r>
              <a:rPr spc="-90" dirty="0"/>
              <a:t> </a:t>
            </a:r>
            <a:r>
              <a:rPr dirty="0"/>
              <a:t>Controls</a:t>
            </a:r>
          </a:p>
        </p:txBody>
      </p:sp>
    </p:spTree>
    <p:extLst>
      <p:ext uri="{BB962C8B-B14F-4D97-AF65-F5344CB8AC3E}">
        <p14:creationId xmlns="" xmlns:p14="http://schemas.microsoft.com/office/powerpoint/2010/main" val="3690332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/>
        </p:nvSpPr>
        <p:spPr>
          <a:xfrm>
            <a:off x="685800" y="1171512"/>
            <a:ext cx="5257800" cy="401008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/>
          <p:cNvSpPr/>
          <p:nvPr/>
        </p:nvSpPr>
        <p:spPr>
          <a:xfrm>
            <a:off x="692624" y="1162413"/>
            <a:ext cx="5250976" cy="4019187"/>
          </a:xfrm>
          <a:custGeom>
            <a:avLst/>
            <a:gdLst/>
            <a:ahLst/>
            <a:cxnLst/>
            <a:rect l="l" t="t" r="r" b="b"/>
            <a:pathLst>
              <a:path w="5010150" h="3762375">
                <a:moveTo>
                  <a:pt x="0" y="3762375"/>
                </a:moveTo>
                <a:lnTo>
                  <a:pt x="5010150" y="3762375"/>
                </a:lnTo>
                <a:lnTo>
                  <a:pt x="5010150" y="0"/>
                </a:lnTo>
                <a:lnTo>
                  <a:pt x="0" y="0"/>
                </a:lnTo>
                <a:lnTo>
                  <a:pt x="0" y="3762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5"/>
          <p:cNvSpPr/>
          <p:nvPr/>
        </p:nvSpPr>
        <p:spPr>
          <a:xfrm>
            <a:off x="692624" y="5181600"/>
            <a:ext cx="5250976" cy="1143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6"/>
          <p:cNvSpPr/>
          <p:nvPr/>
        </p:nvSpPr>
        <p:spPr>
          <a:xfrm>
            <a:off x="692624" y="5181600"/>
            <a:ext cx="5250976" cy="1095375"/>
          </a:xfrm>
          <a:custGeom>
            <a:avLst/>
            <a:gdLst/>
            <a:ahLst/>
            <a:cxnLst/>
            <a:rect l="l" t="t" r="r" b="b"/>
            <a:pathLst>
              <a:path w="5019675" h="1095375">
                <a:moveTo>
                  <a:pt x="0" y="1095375"/>
                </a:moveTo>
                <a:lnTo>
                  <a:pt x="5019675" y="1095375"/>
                </a:lnTo>
                <a:lnTo>
                  <a:pt x="5019675" y="0"/>
                </a:lnTo>
                <a:lnTo>
                  <a:pt x="0" y="0"/>
                </a:lnTo>
                <a:lnTo>
                  <a:pt x="0" y="1095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Item Categories -</a:t>
            </a:r>
            <a:r>
              <a:rPr spc="-90" dirty="0"/>
              <a:t> </a:t>
            </a:r>
            <a:r>
              <a:rPr dirty="0"/>
              <a:t>Controls</a:t>
            </a:r>
          </a:p>
        </p:txBody>
      </p:sp>
    </p:spTree>
    <p:extLst>
      <p:ext uri="{BB962C8B-B14F-4D97-AF65-F5344CB8AC3E}">
        <p14:creationId xmlns="" xmlns:p14="http://schemas.microsoft.com/office/powerpoint/2010/main" val="3961420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675" y="228600"/>
            <a:ext cx="8799677" cy="492443"/>
          </a:xfrm>
        </p:spPr>
        <p:txBody>
          <a:bodyPr/>
          <a:lstStyle/>
          <a:p>
            <a:r>
              <a:rPr lang="en-US" dirty="0"/>
              <a:t>Schedule Line</a:t>
            </a:r>
            <a:r>
              <a:rPr lang="en-US" spc="-85" dirty="0"/>
              <a:t> </a:t>
            </a:r>
            <a:r>
              <a:rPr lang="en-US" dirty="0"/>
              <a:t>Categor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2739211"/>
          </a:xfrm>
        </p:spPr>
        <p:txBody>
          <a:bodyPr/>
          <a:lstStyle/>
          <a:p>
            <a:r>
              <a:rPr lang="en-US" b="0" spc="-5" dirty="0"/>
              <a:t>Schedule lines </a:t>
            </a:r>
            <a:r>
              <a:rPr lang="en-US" b="0" dirty="0"/>
              <a:t>is </a:t>
            </a:r>
            <a:r>
              <a:rPr lang="en-US" b="0" spc="-5" dirty="0"/>
              <a:t>the division of </a:t>
            </a:r>
            <a:r>
              <a:rPr lang="en-US" b="0" dirty="0"/>
              <a:t>an item in a sales </a:t>
            </a:r>
            <a:r>
              <a:rPr lang="en-US" b="0" spc="-5" dirty="0"/>
              <a:t>document according </a:t>
            </a:r>
            <a:r>
              <a:rPr lang="en-US" b="0" dirty="0"/>
              <a:t>to </a:t>
            </a:r>
            <a:r>
              <a:rPr lang="en-US" b="0" spc="-5" dirty="0"/>
              <a:t>date and</a:t>
            </a:r>
            <a:r>
              <a:rPr lang="en-US" b="0" spc="-229" dirty="0"/>
              <a:t> </a:t>
            </a:r>
            <a:r>
              <a:rPr lang="en-US" b="0" spc="-20" dirty="0"/>
              <a:t>quantity.  </a:t>
            </a:r>
            <a:r>
              <a:rPr lang="en-US" b="0" spc="-5" dirty="0"/>
              <a:t>The control of the schedule lines depends on the schedule line</a:t>
            </a:r>
            <a:r>
              <a:rPr lang="en-US" b="0" spc="-125" dirty="0"/>
              <a:t> </a:t>
            </a:r>
            <a:r>
              <a:rPr lang="en-US" b="0" spc="-5" dirty="0" smtClean="0"/>
              <a:t>category</a:t>
            </a:r>
          </a:p>
          <a:p>
            <a:endParaRPr lang="en-US" b="0" spc="-5" dirty="0"/>
          </a:p>
          <a:p>
            <a:r>
              <a:rPr lang="en-US" b="0" spc="5" dirty="0"/>
              <a:t>IMG </a:t>
            </a:r>
            <a:r>
              <a:rPr lang="en-US" b="0" dirty="0"/>
              <a:t>-&gt;Sales </a:t>
            </a:r>
            <a:r>
              <a:rPr lang="en-US" b="0" spc="-5" dirty="0"/>
              <a:t>and Distribution </a:t>
            </a:r>
            <a:r>
              <a:rPr lang="en-US" b="0" dirty="0"/>
              <a:t>-&gt; Sales -&gt;Sales </a:t>
            </a:r>
            <a:r>
              <a:rPr lang="en-US" b="0" spc="-5" dirty="0"/>
              <a:t>Documents -&gt;Schedule Lines </a:t>
            </a:r>
            <a:r>
              <a:rPr lang="en-US" b="0" dirty="0"/>
              <a:t>-&gt; </a:t>
            </a:r>
            <a:r>
              <a:rPr lang="en-US" b="0" spc="-5" dirty="0"/>
              <a:t>Define Schedule</a:t>
            </a:r>
            <a:r>
              <a:rPr lang="en-US" b="0" spc="-240" dirty="0"/>
              <a:t> </a:t>
            </a:r>
            <a:r>
              <a:rPr lang="en-US" b="0" spc="-5" dirty="0"/>
              <a:t>Line  </a:t>
            </a:r>
            <a:r>
              <a:rPr lang="en-US" b="0" spc="-5" dirty="0" smtClean="0"/>
              <a:t>Categories</a:t>
            </a:r>
          </a:p>
          <a:p>
            <a:endParaRPr lang="en-US" sz="2400" spc="-5" dirty="0"/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0514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95901" y="1647825"/>
            <a:ext cx="3434079" cy="409575"/>
          </a:xfrm>
          <a:prstGeom prst="rect">
            <a:avLst/>
          </a:prstGeom>
          <a:solidFill>
            <a:srgbClr val="A06A45"/>
          </a:solidFill>
          <a:ln w="12700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86360">
              <a:lnSpc>
                <a:spcPct val="100000"/>
              </a:lnSpc>
              <a:spcBef>
                <a:spcPts val="260"/>
              </a:spcBef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Inquiry schedule</a:t>
            </a:r>
            <a:r>
              <a:rPr sz="2000" b="1" spc="-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line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795901" y="3095625"/>
            <a:ext cx="3408679" cy="409575"/>
          </a:xfrm>
          <a:prstGeom prst="rect">
            <a:avLst/>
          </a:prstGeom>
          <a:solidFill>
            <a:srgbClr val="A06A45"/>
          </a:solidFill>
          <a:ln w="12700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86360">
              <a:lnSpc>
                <a:spcPct val="100000"/>
              </a:lnSpc>
              <a:spcBef>
                <a:spcPts val="260"/>
              </a:spcBef>
            </a:pP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Deterministic</a:t>
            </a:r>
            <a:r>
              <a:rPr sz="20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MRP</a:t>
            </a:r>
            <a:endParaRPr sz="20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795901" y="3857625"/>
            <a:ext cx="3434079" cy="714375"/>
          </a:xfrm>
          <a:prstGeom prst="rect">
            <a:avLst/>
          </a:prstGeom>
          <a:solidFill>
            <a:srgbClr val="A06A45"/>
          </a:solidFill>
          <a:ln w="12700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86360" marR="136525">
              <a:lnSpc>
                <a:spcPct val="100000"/>
              </a:lnSpc>
              <a:spcBef>
                <a:spcPts val="260"/>
              </a:spcBef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No </a:t>
            </a: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inventory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management  No goods</a:t>
            </a:r>
            <a:r>
              <a:rPr sz="2000" b="1" spc="-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issue</a:t>
            </a:r>
            <a:endParaRPr sz="20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795901" y="2257425"/>
            <a:ext cx="3408679" cy="409575"/>
          </a:xfrm>
          <a:prstGeom prst="rect">
            <a:avLst/>
          </a:prstGeom>
          <a:solidFill>
            <a:srgbClr val="A06A45"/>
          </a:solidFill>
          <a:ln w="12700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86360">
              <a:lnSpc>
                <a:spcPct val="100000"/>
              </a:lnSpc>
              <a:spcBef>
                <a:spcPts val="260"/>
              </a:spcBef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No</a:t>
            </a:r>
            <a:r>
              <a:rPr sz="2000" b="1" spc="-10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MRP</a:t>
            </a:r>
            <a:endParaRPr sz="20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95901" y="5000625"/>
            <a:ext cx="3434079" cy="409575"/>
          </a:xfrm>
          <a:prstGeom prst="rect">
            <a:avLst/>
          </a:prstGeom>
          <a:solidFill>
            <a:srgbClr val="A06A45"/>
          </a:solidFill>
          <a:ln w="12700">
            <a:solidFill>
              <a:srgbClr val="000000"/>
            </a:solidFill>
          </a:ln>
        </p:spPr>
        <p:txBody>
          <a:bodyPr vert="horz" wrap="square" lIns="0" tIns="33655" rIns="0" bIns="0" rtlCol="0">
            <a:spAutoFit/>
          </a:bodyPr>
          <a:lstStyle/>
          <a:p>
            <a:pPr marL="86360">
              <a:lnSpc>
                <a:spcPct val="100000"/>
              </a:lnSpc>
              <a:spcBef>
                <a:spcPts val="265"/>
              </a:spcBef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Consumption-driven</a:t>
            </a:r>
            <a:r>
              <a:rPr sz="2000" b="1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MRP</a:t>
            </a:r>
            <a:endParaRPr sz="20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795901" y="5610225"/>
            <a:ext cx="3434079" cy="409575"/>
          </a:xfrm>
          <a:prstGeom prst="rect">
            <a:avLst/>
          </a:prstGeom>
          <a:solidFill>
            <a:srgbClr val="A06A45"/>
          </a:solidFill>
          <a:ln w="12700">
            <a:solidFill>
              <a:srgbClr val="000000"/>
            </a:solidFill>
          </a:ln>
        </p:spPr>
        <p:txBody>
          <a:bodyPr vert="horz" wrap="square" lIns="0" tIns="33655" rIns="0" bIns="0" rtlCol="0">
            <a:spAutoFit/>
          </a:bodyPr>
          <a:lstStyle/>
          <a:p>
            <a:pPr marL="86360">
              <a:lnSpc>
                <a:spcPct val="100000"/>
              </a:lnSpc>
              <a:spcBef>
                <a:spcPts val="265"/>
              </a:spcBef>
            </a:pP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Returns</a:t>
            </a:r>
            <a:endParaRPr sz="20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660650" y="1647875"/>
            <a:ext cx="1301750" cy="307975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4445" rIns="0" bIns="0" rtlCol="0">
            <a:spAutoFit/>
          </a:bodyPr>
          <a:lstStyle/>
          <a:p>
            <a:pPr marR="15240" algn="ctr">
              <a:lnSpc>
                <a:spcPct val="100000"/>
              </a:lnSpc>
              <a:spcBef>
                <a:spcPts val="35"/>
              </a:spcBef>
            </a:pPr>
            <a:r>
              <a:rPr sz="1800" b="1" spc="-190" dirty="0">
                <a:solidFill>
                  <a:srgbClr val="808080"/>
                </a:solidFill>
                <a:latin typeface="Arial"/>
                <a:cs typeface="Arial"/>
              </a:rPr>
              <a:t>AT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660650" y="2113711"/>
            <a:ext cx="1301750" cy="307975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44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5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B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660650" y="2490393"/>
            <a:ext cx="1301750" cy="307975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44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5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CN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660650" y="3000679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660650" y="3000679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139820" y="3012059"/>
            <a:ext cx="342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BP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660650" y="3383203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660650" y="3383203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139820" y="3394582"/>
            <a:ext cx="342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CP</a:t>
            </a:r>
            <a:endParaRPr sz="18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660650" y="3886377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660650" y="3886377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3145917" y="3897757"/>
            <a:ext cx="3295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BT</a:t>
            </a:r>
            <a:endParaRPr sz="18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660650" y="4277410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660650" y="4277410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145917" y="4288790"/>
            <a:ext cx="3295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CT</a:t>
            </a:r>
            <a:endParaRPr sz="18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660650" y="4772075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660650" y="4772075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3139820" y="4783582"/>
            <a:ext cx="342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BV</a:t>
            </a:r>
            <a:endParaRPr sz="18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660650" y="5154472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solidFill>
            <a:srgbClr val="FBF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660650" y="5154472"/>
            <a:ext cx="1301750" cy="307975"/>
          </a:xfrm>
          <a:custGeom>
            <a:avLst/>
            <a:gdLst/>
            <a:ahLst/>
            <a:cxnLst/>
            <a:rect l="l" t="t" r="r" b="b"/>
            <a:pathLst>
              <a:path w="1301750" h="307975">
                <a:moveTo>
                  <a:pt x="0" y="307670"/>
                </a:moveTo>
                <a:lnTo>
                  <a:pt x="1301750" y="307670"/>
                </a:lnTo>
                <a:lnTo>
                  <a:pt x="1301750" y="0"/>
                </a:lnTo>
                <a:lnTo>
                  <a:pt x="0" y="0"/>
                </a:lnTo>
                <a:lnTo>
                  <a:pt x="0" y="30767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3139820" y="5166105"/>
            <a:ext cx="3422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CV</a:t>
            </a:r>
            <a:endParaRPr sz="18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660650" y="5683554"/>
            <a:ext cx="1301750" cy="307975"/>
          </a:xfrm>
          <a:prstGeom prst="rect">
            <a:avLst/>
          </a:prstGeom>
          <a:solidFill>
            <a:srgbClr val="FBFDB8"/>
          </a:solidFill>
          <a:ln w="12700">
            <a:solidFill>
              <a:srgbClr val="000000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1800" b="1" spc="-10" dirty="0">
                <a:solidFill>
                  <a:srgbClr val="808080"/>
                </a:solidFill>
                <a:latin typeface="Arial"/>
                <a:cs typeface="Arial"/>
              </a:rPr>
              <a:t>DN</a:t>
            </a:r>
            <a:endParaRPr sz="1800"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4089400" y="1670050"/>
            <a:ext cx="508000" cy="3111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089400" y="1670050"/>
            <a:ext cx="508000" cy="311150"/>
          </a:xfrm>
          <a:custGeom>
            <a:avLst/>
            <a:gdLst/>
            <a:ahLst/>
            <a:cxnLst/>
            <a:rect l="l" t="t" r="r" b="b"/>
            <a:pathLst>
              <a:path w="508000" h="311150">
                <a:moveTo>
                  <a:pt x="0" y="311150"/>
                </a:moveTo>
                <a:lnTo>
                  <a:pt x="508000" y="155575"/>
                </a:lnTo>
                <a:lnTo>
                  <a:pt x="0" y="0"/>
                </a:lnTo>
                <a:lnTo>
                  <a:pt x="0" y="3111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089400" y="2301875"/>
            <a:ext cx="508000" cy="3111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089400" y="2301875"/>
            <a:ext cx="508000" cy="311150"/>
          </a:xfrm>
          <a:custGeom>
            <a:avLst/>
            <a:gdLst/>
            <a:ahLst/>
            <a:cxnLst/>
            <a:rect l="l" t="t" r="r" b="b"/>
            <a:pathLst>
              <a:path w="508000" h="311150">
                <a:moveTo>
                  <a:pt x="0" y="311150"/>
                </a:moveTo>
                <a:lnTo>
                  <a:pt x="508000" y="155575"/>
                </a:lnTo>
                <a:lnTo>
                  <a:pt x="0" y="0"/>
                </a:lnTo>
                <a:lnTo>
                  <a:pt x="0" y="3111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089400" y="3132073"/>
            <a:ext cx="508000" cy="311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089400" y="3132073"/>
            <a:ext cx="508000" cy="311785"/>
          </a:xfrm>
          <a:custGeom>
            <a:avLst/>
            <a:gdLst/>
            <a:ahLst/>
            <a:cxnLst/>
            <a:rect l="l" t="t" r="r" b="b"/>
            <a:pathLst>
              <a:path w="508000" h="311785">
                <a:moveTo>
                  <a:pt x="0" y="311276"/>
                </a:moveTo>
                <a:lnTo>
                  <a:pt x="508000" y="155701"/>
                </a:lnTo>
                <a:lnTo>
                  <a:pt x="0" y="0"/>
                </a:lnTo>
                <a:lnTo>
                  <a:pt x="0" y="31127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089400" y="4129023"/>
            <a:ext cx="508000" cy="3111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089400" y="4129023"/>
            <a:ext cx="508000" cy="311150"/>
          </a:xfrm>
          <a:custGeom>
            <a:avLst/>
            <a:gdLst/>
            <a:ahLst/>
            <a:cxnLst/>
            <a:rect l="l" t="t" r="r" b="b"/>
            <a:pathLst>
              <a:path w="508000" h="311150">
                <a:moveTo>
                  <a:pt x="0" y="311150"/>
                </a:moveTo>
                <a:lnTo>
                  <a:pt x="508000" y="155701"/>
                </a:lnTo>
                <a:lnTo>
                  <a:pt x="0" y="0"/>
                </a:lnTo>
                <a:lnTo>
                  <a:pt x="0" y="3111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089400" y="5081523"/>
            <a:ext cx="508000" cy="3112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089400" y="5081523"/>
            <a:ext cx="508000" cy="311785"/>
          </a:xfrm>
          <a:custGeom>
            <a:avLst/>
            <a:gdLst/>
            <a:ahLst/>
            <a:cxnLst/>
            <a:rect l="l" t="t" r="r" b="b"/>
            <a:pathLst>
              <a:path w="508000" h="311785">
                <a:moveTo>
                  <a:pt x="0" y="311276"/>
                </a:moveTo>
                <a:lnTo>
                  <a:pt x="508000" y="155701"/>
                </a:lnTo>
                <a:lnTo>
                  <a:pt x="0" y="0"/>
                </a:lnTo>
                <a:lnTo>
                  <a:pt x="0" y="31127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089400" y="5708650"/>
            <a:ext cx="508000" cy="3111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089400" y="5708650"/>
            <a:ext cx="508000" cy="311150"/>
          </a:xfrm>
          <a:custGeom>
            <a:avLst/>
            <a:gdLst/>
            <a:ahLst/>
            <a:cxnLst/>
            <a:rect l="l" t="t" r="r" b="b"/>
            <a:pathLst>
              <a:path w="508000" h="311150">
                <a:moveTo>
                  <a:pt x="0" y="311150"/>
                </a:moveTo>
                <a:lnTo>
                  <a:pt x="508000" y="155587"/>
                </a:lnTo>
                <a:lnTo>
                  <a:pt x="0" y="0"/>
                </a:lnTo>
                <a:lnTo>
                  <a:pt x="0" y="3111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228600" y="3051175"/>
            <a:ext cx="2148205" cy="1327150"/>
          </a:xfrm>
          <a:prstGeom prst="rect">
            <a:avLst/>
          </a:prstGeom>
          <a:solidFill>
            <a:srgbClr val="F7C575"/>
          </a:solidFill>
          <a:ln w="12700">
            <a:solidFill>
              <a:srgbClr val="000000"/>
            </a:solidFill>
          </a:ln>
        </p:spPr>
        <p:txBody>
          <a:bodyPr vert="horz" wrap="square" lIns="0" tIns="102870" rIns="0" bIns="0" rtlCol="0">
            <a:spAutoFit/>
          </a:bodyPr>
          <a:lstStyle/>
          <a:p>
            <a:pPr marL="85090">
              <a:lnSpc>
                <a:spcPct val="100000"/>
              </a:lnSpc>
              <a:spcBef>
                <a:spcPts val="810"/>
              </a:spcBef>
            </a:pPr>
            <a:r>
              <a:rPr sz="1800" b="1" spc="-5" dirty="0">
                <a:latin typeface="Arial"/>
                <a:cs typeface="Arial"/>
              </a:rPr>
              <a:t>A </a:t>
            </a:r>
            <a:r>
              <a:rPr sz="1800" b="1" dirty="0">
                <a:latin typeface="Arial"/>
                <a:cs typeface="Arial"/>
              </a:rPr>
              <a:t>=</a:t>
            </a:r>
            <a:r>
              <a:rPr sz="1800" b="1" spc="-17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Inquiry</a:t>
            </a:r>
            <a:endParaRPr sz="1800">
              <a:latin typeface="Arial"/>
              <a:cs typeface="Arial"/>
            </a:endParaRPr>
          </a:p>
          <a:p>
            <a:pPr marL="85090" marR="33528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B </a:t>
            </a:r>
            <a:r>
              <a:rPr sz="1800" b="1" dirty="0">
                <a:latin typeface="Arial"/>
                <a:cs typeface="Arial"/>
              </a:rPr>
              <a:t>= Quotation  </a:t>
            </a:r>
            <a:r>
              <a:rPr sz="1800" b="1" spc="-5" dirty="0">
                <a:latin typeface="Arial"/>
                <a:cs typeface="Arial"/>
              </a:rPr>
              <a:t>C </a:t>
            </a:r>
            <a:r>
              <a:rPr sz="1800" b="1" dirty="0">
                <a:latin typeface="Arial"/>
                <a:cs typeface="Arial"/>
              </a:rPr>
              <a:t>= </a:t>
            </a:r>
            <a:r>
              <a:rPr sz="1800" b="1" spc="-5" dirty="0">
                <a:latin typeface="Arial"/>
                <a:cs typeface="Arial"/>
              </a:rPr>
              <a:t>Sales </a:t>
            </a:r>
            <a:r>
              <a:rPr sz="1800" b="1" dirty="0">
                <a:latin typeface="Arial"/>
                <a:cs typeface="Arial"/>
              </a:rPr>
              <a:t>Order  </a:t>
            </a:r>
            <a:r>
              <a:rPr sz="1800" b="1" spc="-5" dirty="0">
                <a:latin typeface="Arial"/>
                <a:cs typeface="Arial"/>
              </a:rPr>
              <a:t>D </a:t>
            </a:r>
            <a:r>
              <a:rPr sz="1800" b="1" dirty="0">
                <a:latin typeface="Arial"/>
                <a:cs typeface="Arial"/>
              </a:rPr>
              <a:t>=</a:t>
            </a:r>
            <a:r>
              <a:rPr sz="1800" b="1" spc="-8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Returns</a:t>
            </a:r>
            <a:endParaRPr sz="1800">
              <a:latin typeface="Arial"/>
              <a:cs typeface="Arial"/>
            </a:endParaRPr>
          </a:p>
        </p:txBody>
      </p:sp>
      <p:sp>
        <p:nvSpPr>
          <p:cNvPr id="44" name="object 44"/>
          <p:cNvSpPr txBox="1">
            <a:spLocks noGrp="1"/>
          </p:cNvSpPr>
          <p:nvPr>
            <p:ph type="title"/>
          </p:nvPr>
        </p:nvSpPr>
        <p:spPr>
          <a:xfrm>
            <a:off x="314602" y="305366"/>
            <a:ext cx="782383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Schedule Line</a:t>
            </a:r>
            <a:r>
              <a:rPr spc="-85" dirty="0"/>
              <a:t> </a:t>
            </a:r>
            <a:r>
              <a:rPr dirty="0" smtClean="0"/>
              <a:t>Categories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6217087"/>
          </a:xfrm>
        </p:spPr>
        <p:txBody>
          <a:bodyPr/>
          <a:lstStyle/>
          <a:p>
            <a:r>
              <a:rPr lang="en-US" b="0" spc="-10" dirty="0"/>
              <a:t>The </a:t>
            </a:r>
            <a:r>
              <a:rPr lang="en-US" b="0" spc="-5" dirty="0"/>
              <a:t>Schedule Line Category on a sales  document</a:t>
            </a:r>
            <a:r>
              <a:rPr lang="en-US" b="0" spc="-65" dirty="0"/>
              <a:t> </a:t>
            </a:r>
            <a:r>
              <a:rPr lang="en-US" b="0" spc="-5" dirty="0"/>
              <a:t>controls</a:t>
            </a:r>
            <a:r>
              <a:rPr lang="en-US" b="0" spc="-5" dirty="0" smtClean="0"/>
              <a:t>: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requirements should be </a:t>
            </a:r>
            <a:r>
              <a:rPr lang="en-US" dirty="0"/>
              <a:t>passed </a:t>
            </a:r>
            <a:r>
              <a:rPr lang="en-US" spc="-5" dirty="0"/>
              <a:t>on </a:t>
            </a:r>
            <a:r>
              <a:rPr lang="en-US" dirty="0"/>
              <a:t>to</a:t>
            </a:r>
            <a:r>
              <a:rPr lang="en-US" spc="-130" dirty="0"/>
              <a:t> </a:t>
            </a:r>
            <a:r>
              <a:rPr lang="en-US" dirty="0" smtClean="0"/>
              <a:t>MRP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</a:t>
            </a:r>
            <a:r>
              <a:rPr lang="en-US" dirty="0"/>
              <a:t>an </a:t>
            </a:r>
            <a:r>
              <a:rPr lang="en-US" spc="-5" dirty="0"/>
              <a:t>availability </a:t>
            </a:r>
            <a:r>
              <a:rPr lang="en-US" dirty="0"/>
              <a:t>check </a:t>
            </a:r>
            <a:r>
              <a:rPr lang="en-US" spc="-5" dirty="0"/>
              <a:t>should be </a:t>
            </a:r>
            <a:r>
              <a:rPr lang="en-US" dirty="0"/>
              <a:t>carried</a:t>
            </a:r>
            <a:r>
              <a:rPr lang="en-US" spc="-190" dirty="0"/>
              <a:t> </a:t>
            </a:r>
            <a:r>
              <a:rPr lang="en-US" spc="-5" dirty="0" smtClean="0"/>
              <a:t>out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ether an item is relevant for delivery (Example,  a third party item or a quotation would </a:t>
            </a:r>
            <a:r>
              <a:rPr lang="en-US" spc="-5" dirty="0" smtClean="0"/>
              <a:t>have schedule </a:t>
            </a:r>
            <a:r>
              <a:rPr lang="en-US" spc="-5" dirty="0"/>
              <a:t>lines but would not be relevant for delivery</a:t>
            </a:r>
            <a:r>
              <a:rPr lang="en-US" spc="-5" dirty="0" smtClean="0"/>
              <a:t>)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Which data should appear </a:t>
            </a:r>
            <a:r>
              <a:rPr lang="en-US" dirty="0"/>
              <a:t>in </a:t>
            </a:r>
            <a:r>
              <a:rPr lang="en-US" spc="-5" dirty="0"/>
              <a:t>the Incompletion</a:t>
            </a:r>
            <a:r>
              <a:rPr lang="en-US" spc="-130" dirty="0"/>
              <a:t> </a:t>
            </a:r>
            <a:r>
              <a:rPr lang="en-US" spc="-5" dirty="0" smtClean="0"/>
              <a:t>log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dirty="0"/>
              <a:t>A </a:t>
            </a:r>
            <a:r>
              <a:rPr lang="en-US" spc="-5" dirty="0"/>
              <a:t>movement </a:t>
            </a:r>
            <a:r>
              <a:rPr lang="en-US" spc="-15" dirty="0"/>
              <a:t>type </a:t>
            </a:r>
            <a:r>
              <a:rPr lang="en-US" spc="-5" dirty="0"/>
              <a:t>for posting quantities</a:t>
            </a:r>
            <a:r>
              <a:rPr lang="en-US" spc="-110" dirty="0"/>
              <a:t> </a:t>
            </a:r>
            <a:r>
              <a:rPr lang="en-US" spc="-5" dirty="0"/>
              <a:t>and  changes </a:t>
            </a:r>
            <a:r>
              <a:rPr lang="en-US" dirty="0"/>
              <a:t>in </a:t>
            </a:r>
            <a:r>
              <a:rPr lang="en-US" spc="-5" dirty="0"/>
              <a:t>value </a:t>
            </a:r>
            <a:r>
              <a:rPr lang="en-US" dirty="0"/>
              <a:t>to </a:t>
            </a:r>
            <a:r>
              <a:rPr lang="en-US" spc="-5" dirty="0"/>
              <a:t>inventory</a:t>
            </a:r>
            <a:r>
              <a:rPr lang="en-US" spc="-130" dirty="0"/>
              <a:t> </a:t>
            </a:r>
            <a:r>
              <a:rPr lang="en-US" spc="-5" dirty="0" smtClean="0"/>
              <a:t>accounting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The movement </a:t>
            </a:r>
            <a:r>
              <a:rPr lang="en-US" spc="-15" dirty="0"/>
              <a:t>type </a:t>
            </a:r>
            <a:r>
              <a:rPr lang="en-US" dirty="0"/>
              <a:t>is </a:t>
            </a:r>
            <a:r>
              <a:rPr lang="en-US" spc="-5" dirty="0"/>
              <a:t>only relevant </a:t>
            </a:r>
            <a:r>
              <a:rPr lang="en-US" dirty="0"/>
              <a:t>to items </a:t>
            </a:r>
            <a:r>
              <a:rPr lang="en-US" spc="-5" dirty="0"/>
              <a:t>or  schedule lines </a:t>
            </a:r>
            <a:r>
              <a:rPr lang="en-US" dirty="0"/>
              <a:t>which result in a stock</a:t>
            </a:r>
            <a:r>
              <a:rPr lang="en-US" spc="-204" dirty="0"/>
              <a:t> </a:t>
            </a:r>
            <a:r>
              <a:rPr lang="en-US" spc="-5" dirty="0" smtClean="0"/>
              <a:t>movement</a:t>
            </a:r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5" dirty="0"/>
              <a:t>To </a:t>
            </a:r>
            <a:r>
              <a:rPr lang="en-US" spc="-5" dirty="0"/>
              <a:t>generate purchase requisitions automatically </a:t>
            </a:r>
            <a:r>
              <a:rPr lang="en-US" dirty="0"/>
              <a:t>in  </a:t>
            </a:r>
            <a:r>
              <a:rPr lang="en-US" spc="10" dirty="0"/>
              <a:t>MM </a:t>
            </a:r>
            <a:r>
              <a:rPr lang="en-US" dirty="0"/>
              <a:t>( </a:t>
            </a:r>
            <a:r>
              <a:rPr lang="en-US" spc="-5" dirty="0"/>
              <a:t>Purchasing) </a:t>
            </a:r>
            <a:r>
              <a:rPr lang="en-US" spc="-20" dirty="0"/>
              <a:t>you </a:t>
            </a:r>
            <a:r>
              <a:rPr lang="en-US" spc="-5" dirty="0"/>
              <a:t>use the </a:t>
            </a:r>
            <a:r>
              <a:rPr lang="en-US" dirty="0"/>
              <a:t>fields Order </a:t>
            </a:r>
            <a:r>
              <a:rPr lang="en-US" spc="-15" dirty="0"/>
              <a:t>type,  </a:t>
            </a:r>
            <a:r>
              <a:rPr lang="en-US" dirty="0" err="1"/>
              <a:t>Purch</a:t>
            </a:r>
            <a:r>
              <a:rPr lang="en-US" dirty="0"/>
              <a:t>. req. </a:t>
            </a:r>
            <a:r>
              <a:rPr lang="en-US" spc="10" dirty="0"/>
              <a:t>with </a:t>
            </a:r>
            <a:r>
              <a:rPr lang="en-US" dirty="0"/>
              <a:t>del. </a:t>
            </a:r>
            <a:r>
              <a:rPr lang="en-US" spc="-5" dirty="0"/>
              <a:t>Scheduling, </a:t>
            </a:r>
            <a:r>
              <a:rPr lang="en-US" dirty="0"/>
              <a:t>Item category and  </a:t>
            </a:r>
            <a:r>
              <a:rPr lang="en-US" spc="-5" dirty="0"/>
              <a:t>account </a:t>
            </a:r>
            <a:r>
              <a:rPr lang="en-US" dirty="0"/>
              <a:t>assignment (for ex. </a:t>
            </a:r>
            <a:r>
              <a:rPr lang="en-US" spc="-5" dirty="0"/>
              <a:t>Schedule line</a:t>
            </a:r>
            <a:r>
              <a:rPr lang="en-US" spc="-150" dirty="0"/>
              <a:t> </a:t>
            </a:r>
            <a:r>
              <a:rPr lang="en-US" spc="-5" dirty="0"/>
              <a:t>category  CS)</a:t>
            </a:r>
            <a:endParaRPr lang="en-US" dirty="0"/>
          </a:p>
          <a:p>
            <a:pPr marL="7429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10" dirty="0"/>
              <a:t>The </a:t>
            </a:r>
            <a:r>
              <a:rPr lang="en-US" spc="-5" dirty="0"/>
              <a:t>Schedule Line Category is dependent on </a:t>
            </a:r>
            <a:r>
              <a:rPr lang="en-US" spc="-10" dirty="0"/>
              <a:t>the </a:t>
            </a:r>
            <a:r>
              <a:rPr lang="en-US" spc="-5" dirty="0"/>
              <a:t>item category and </a:t>
            </a:r>
            <a:r>
              <a:rPr lang="en-US" spc="-10" dirty="0"/>
              <a:t>the </a:t>
            </a:r>
            <a:r>
              <a:rPr lang="en-US" spc="-5" dirty="0"/>
              <a:t>MRP </a:t>
            </a:r>
            <a:r>
              <a:rPr lang="en-US" spc="-45" dirty="0"/>
              <a:t>Type  </a:t>
            </a:r>
            <a:r>
              <a:rPr lang="en-US" spc="-5" dirty="0"/>
              <a:t>(MRP Screen of material</a:t>
            </a:r>
            <a:r>
              <a:rPr lang="en-US" spc="-10" dirty="0"/>
              <a:t> </a:t>
            </a:r>
            <a:r>
              <a:rPr lang="en-US" spc="-5" dirty="0"/>
              <a:t>master)</a:t>
            </a:r>
            <a:endParaRPr lang="en-US" dirty="0"/>
          </a:p>
          <a:p>
            <a:pPr lvl="1"/>
            <a:endParaRPr lang="en-US" spc="-5" dirty="0"/>
          </a:p>
          <a:p>
            <a:pPr lvl="1"/>
            <a:endParaRPr lang="en-US" spc="-5" dirty="0" smtClean="0"/>
          </a:p>
          <a:p>
            <a:pPr lvl="1"/>
            <a:endParaRPr lang="en-US" spc="-5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b="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Schedule Line Category -</a:t>
            </a:r>
            <a:r>
              <a:rPr spc="-10" dirty="0"/>
              <a:t> </a:t>
            </a:r>
            <a:r>
              <a:rPr spc="-5" dirty="0"/>
              <a:t>Controls</a:t>
            </a:r>
            <a:endParaRPr dirty="0"/>
          </a:p>
        </p:txBody>
      </p:sp>
    </p:spTree>
    <p:extLst>
      <p:ext uri="{BB962C8B-B14F-4D97-AF65-F5344CB8AC3E}">
        <p14:creationId xmlns="" xmlns:p14="http://schemas.microsoft.com/office/powerpoint/2010/main" val="180079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2152" y="228600"/>
            <a:ext cx="834707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Schedule Line Category -</a:t>
            </a:r>
            <a:r>
              <a:rPr spc="-10" dirty="0"/>
              <a:t> </a:t>
            </a:r>
            <a:r>
              <a:rPr spc="-5" dirty="0"/>
              <a:t>Controls</a:t>
            </a:r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04800" y="1447800"/>
            <a:ext cx="8305800" cy="4876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90512" y="1433449"/>
            <a:ext cx="8320088" cy="4891151"/>
          </a:xfrm>
          <a:custGeom>
            <a:avLst/>
            <a:gdLst/>
            <a:ahLst/>
            <a:cxnLst/>
            <a:rect l="l" t="t" r="r" b="b"/>
            <a:pathLst>
              <a:path w="4143375" h="4067175">
                <a:moveTo>
                  <a:pt x="0" y="4067175"/>
                </a:moveTo>
                <a:lnTo>
                  <a:pt x="4143375" y="4067175"/>
                </a:lnTo>
                <a:lnTo>
                  <a:pt x="4143375" y="0"/>
                </a:lnTo>
                <a:lnTo>
                  <a:pt x="0" y="0"/>
                </a:lnTo>
                <a:lnTo>
                  <a:pt x="0" y="4067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ales -</a:t>
            </a:r>
            <a:r>
              <a:rPr spc="-85" dirty="0"/>
              <a:t> </a:t>
            </a:r>
            <a:r>
              <a:rPr dirty="0"/>
              <a:t>Transactions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148404355"/>
              </p:ext>
            </p:extLst>
          </p:nvPr>
        </p:nvGraphicFramePr>
        <p:xfrm>
          <a:off x="450850" y="1817751"/>
          <a:ext cx="7924800" cy="286041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6000"/>
                <a:gridCol w="5638800"/>
              </a:tblGrid>
              <a:tr h="36664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1" spc="-15" dirty="0">
                          <a:latin typeface="Arial"/>
                          <a:cs typeface="Arial"/>
                        </a:rPr>
                        <a:t>Transaction</a:t>
                      </a:r>
                      <a:r>
                        <a:rPr sz="2200" b="1" spc="-7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dirty="0">
                          <a:latin typeface="Arial"/>
                          <a:cs typeface="Arial"/>
                        </a:rPr>
                        <a:t>Codes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Application</a:t>
                      </a:r>
                      <a:endParaRPr sz="22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66775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75" dirty="0">
                          <a:latin typeface="Arial"/>
                          <a:cs typeface="Arial"/>
                        </a:rPr>
                        <a:t>VA1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1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13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</a:t>
                      </a:r>
                      <a:r>
                        <a:rPr sz="2200" b="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Inquiry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6664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0" dirty="0">
                          <a:latin typeface="Arial"/>
                          <a:cs typeface="Arial"/>
                        </a:rPr>
                        <a:t>VA2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2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2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</a:t>
                      </a:r>
                      <a:r>
                        <a:rPr sz="2200" b="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Quotation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66775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0" dirty="0">
                          <a:latin typeface="Arial"/>
                          <a:cs typeface="Arial"/>
                        </a:rPr>
                        <a:t>VA4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4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4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</a:t>
                      </a:r>
                      <a:r>
                        <a:rPr sz="2200" b="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ontract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6664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0" dirty="0">
                          <a:latin typeface="Arial"/>
                          <a:cs typeface="Arial"/>
                        </a:rPr>
                        <a:t>VA3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3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3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Scheduling</a:t>
                      </a:r>
                      <a:r>
                        <a:rPr sz="2200" b="0" spc="-7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Agreement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4191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sz="2200" b="0" spc="-50" dirty="0">
                          <a:latin typeface="Arial"/>
                          <a:cs typeface="Arial"/>
                        </a:rPr>
                        <a:t>VA0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0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0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Sales</a:t>
                      </a:r>
                      <a:r>
                        <a:rPr sz="2200" b="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Order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6864" y="304368"/>
            <a:ext cx="1890395" cy="670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Inquir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106678"/>
            <a:ext cx="8379460" cy="12618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b="1" dirty="0">
                <a:latin typeface="Arial"/>
                <a:cs typeface="Arial"/>
              </a:rPr>
              <a:t>Inquiry : </a:t>
            </a:r>
            <a:r>
              <a:rPr sz="1800" b="1" spc="-5" dirty="0">
                <a:latin typeface="Arial"/>
                <a:cs typeface="Arial"/>
              </a:rPr>
              <a:t>Customer contact records </a:t>
            </a:r>
            <a:r>
              <a:rPr sz="1800" b="1" spc="10" dirty="0">
                <a:latin typeface="Arial"/>
                <a:cs typeface="Arial"/>
              </a:rPr>
              <a:t>which </a:t>
            </a:r>
            <a:r>
              <a:rPr sz="1800" b="1" spc="-5" dirty="0">
                <a:latin typeface="Arial"/>
                <a:cs typeface="Arial"/>
              </a:rPr>
              <a:t>capture </a:t>
            </a:r>
            <a:r>
              <a:rPr sz="1800" b="1" dirty="0">
                <a:latin typeface="Arial"/>
                <a:cs typeface="Arial"/>
              </a:rPr>
              <a:t>pre-sales</a:t>
            </a:r>
            <a:r>
              <a:rPr sz="1800" b="1" spc="-5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information</a:t>
            </a:r>
            <a:endParaRPr sz="1800" dirty="0">
              <a:latin typeface="Arial"/>
              <a:cs typeface="Arial"/>
            </a:endParaRPr>
          </a:p>
          <a:p>
            <a:pPr marL="1212850" indent="-28575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1167765" algn="l"/>
                <a:tab pos="1168400" algn="l"/>
              </a:tabLst>
            </a:pPr>
            <a:r>
              <a:rPr sz="1600" b="1" spc="-5" dirty="0">
                <a:latin typeface="Arial"/>
                <a:cs typeface="Arial"/>
              </a:rPr>
              <a:t>Can be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material or text</a:t>
            </a:r>
            <a:r>
              <a:rPr sz="1600" b="1" spc="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items</a:t>
            </a:r>
            <a:endParaRPr sz="1600" dirty="0">
              <a:latin typeface="Arial"/>
              <a:cs typeface="Arial"/>
            </a:endParaRPr>
          </a:p>
          <a:p>
            <a:pPr marL="12128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1167765" algn="l"/>
                <a:tab pos="1168400" algn="l"/>
              </a:tabLst>
            </a:pPr>
            <a:r>
              <a:rPr sz="1600" b="1" spc="-10" dirty="0">
                <a:latin typeface="Arial"/>
                <a:cs typeface="Arial"/>
              </a:rPr>
              <a:t>Serve </a:t>
            </a:r>
            <a:r>
              <a:rPr sz="1600" b="1" spc="-5" dirty="0">
                <a:latin typeface="Arial"/>
                <a:cs typeface="Arial"/>
              </a:rPr>
              <a:t>as </a:t>
            </a:r>
            <a:r>
              <a:rPr sz="1600" b="1" spc="-10" dirty="0">
                <a:latin typeface="Arial"/>
                <a:cs typeface="Arial"/>
              </a:rPr>
              <a:t>system </a:t>
            </a:r>
            <a:r>
              <a:rPr sz="1600" b="1" spc="-5" dirty="0">
                <a:latin typeface="Arial"/>
                <a:cs typeface="Arial"/>
              </a:rPr>
              <a:t>references </a:t>
            </a:r>
            <a:r>
              <a:rPr sz="1600" b="1" spc="-10" dirty="0">
                <a:latin typeface="Arial"/>
                <a:cs typeface="Arial"/>
              </a:rPr>
              <a:t>for future</a:t>
            </a:r>
            <a:r>
              <a:rPr sz="1600" b="1" spc="1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ctivity</a:t>
            </a:r>
            <a:endParaRPr sz="1600" dirty="0">
              <a:latin typeface="Arial"/>
              <a:cs typeface="Arial"/>
            </a:endParaRPr>
          </a:p>
          <a:p>
            <a:pPr marL="12128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1167765" algn="l"/>
                <a:tab pos="1168400" algn="l"/>
              </a:tabLst>
            </a:pPr>
            <a:r>
              <a:rPr sz="1600" b="1" spc="-10" dirty="0">
                <a:latin typeface="Arial"/>
                <a:cs typeface="Arial"/>
              </a:rPr>
              <a:t>Serve </a:t>
            </a:r>
            <a:r>
              <a:rPr sz="1600" b="1" spc="-5" dirty="0">
                <a:latin typeface="Arial"/>
                <a:cs typeface="Arial"/>
              </a:rPr>
              <a:t>as follow up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business that did </a:t>
            </a:r>
            <a:r>
              <a:rPr sz="1600" b="1" spc="-10" dirty="0">
                <a:latin typeface="Arial"/>
                <a:cs typeface="Arial"/>
              </a:rPr>
              <a:t>not</a:t>
            </a:r>
            <a:r>
              <a:rPr sz="1600" b="1" spc="17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happen</a:t>
            </a:r>
            <a:endParaRPr sz="1600" dirty="0">
              <a:latin typeface="Arial"/>
              <a:cs typeface="Arial"/>
            </a:endParaRPr>
          </a:p>
          <a:p>
            <a:pPr marL="12128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1167765" algn="l"/>
                <a:tab pos="1168400" algn="l"/>
              </a:tabLst>
            </a:pPr>
            <a:r>
              <a:rPr sz="1600" b="1" spc="-5" dirty="0">
                <a:latin typeface="Arial"/>
                <a:cs typeface="Arial"/>
              </a:rPr>
              <a:t>The validity period can be used as a processing</a:t>
            </a:r>
            <a:r>
              <a:rPr sz="1600" b="1" spc="10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limi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04800" y="2514600"/>
            <a:ext cx="6610350" cy="38385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90512" y="2500312"/>
            <a:ext cx="6638925" cy="3867150"/>
          </a:xfrm>
          <a:custGeom>
            <a:avLst/>
            <a:gdLst/>
            <a:ahLst/>
            <a:cxnLst/>
            <a:rect l="l" t="t" r="r" b="b"/>
            <a:pathLst>
              <a:path w="6638925" h="3867150">
                <a:moveTo>
                  <a:pt x="0" y="3867150"/>
                </a:moveTo>
                <a:lnTo>
                  <a:pt x="6638925" y="3867150"/>
                </a:lnTo>
                <a:lnTo>
                  <a:pt x="6638925" y="0"/>
                </a:lnTo>
                <a:lnTo>
                  <a:pt x="0" y="0"/>
                </a:lnTo>
                <a:lnTo>
                  <a:pt x="0" y="38671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19676" y="4419600"/>
            <a:ext cx="4243705" cy="1402080"/>
          </a:xfrm>
          <a:custGeom>
            <a:avLst/>
            <a:gdLst/>
            <a:ahLst/>
            <a:cxnLst/>
            <a:rect l="l" t="t" r="r" b="b"/>
            <a:pathLst>
              <a:path w="4243705" h="1402079">
                <a:moveTo>
                  <a:pt x="4078224" y="0"/>
                </a:moveTo>
                <a:lnTo>
                  <a:pt x="1589024" y="0"/>
                </a:lnTo>
                <a:lnTo>
                  <a:pt x="1545132" y="5897"/>
                </a:lnTo>
                <a:lnTo>
                  <a:pt x="1505693" y="22540"/>
                </a:lnTo>
                <a:lnTo>
                  <a:pt x="1472279" y="48355"/>
                </a:lnTo>
                <a:lnTo>
                  <a:pt x="1446464" y="81769"/>
                </a:lnTo>
                <a:lnTo>
                  <a:pt x="1429821" y="121208"/>
                </a:lnTo>
                <a:lnTo>
                  <a:pt x="1423924" y="165100"/>
                </a:lnTo>
                <a:lnTo>
                  <a:pt x="1423924" y="577850"/>
                </a:lnTo>
                <a:lnTo>
                  <a:pt x="0" y="1401749"/>
                </a:lnTo>
                <a:lnTo>
                  <a:pt x="1423924" y="825500"/>
                </a:lnTo>
                <a:lnTo>
                  <a:pt x="4243324" y="825500"/>
                </a:lnTo>
                <a:lnTo>
                  <a:pt x="4243324" y="165100"/>
                </a:lnTo>
                <a:lnTo>
                  <a:pt x="4237426" y="121208"/>
                </a:lnTo>
                <a:lnTo>
                  <a:pt x="4220783" y="81769"/>
                </a:lnTo>
                <a:lnTo>
                  <a:pt x="4194968" y="48355"/>
                </a:lnTo>
                <a:lnTo>
                  <a:pt x="4161554" y="22540"/>
                </a:lnTo>
                <a:lnTo>
                  <a:pt x="4122115" y="5897"/>
                </a:lnTo>
                <a:lnTo>
                  <a:pt x="4078224" y="0"/>
                </a:lnTo>
                <a:close/>
              </a:path>
              <a:path w="4243705" h="1402079">
                <a:moveTo>
                  <a:pt x="4243324" y="825500"/>
                </a:moveTo>
                <a:lnTo>
                  <a:pt x="1423924" y="825500"/>
                </a:lnTo>
                <a:lnTo>
                  <a:pt x="1429821" y="869391"/>
                </a:lnTo>
                <a:lnTo>
                  <a:pt x="1446464" y="908830"/>
                </a:lnTo>
                <a:lnTo>
                  <a:pt x="1472279" y="942244"/>
                </a:lnTo>
                <a:lnTo>
                  <a:pt x="1505693" y="968059"/>
                </a:lnTo>
                <a:lnTo>
                  <a:pt x="1545132" y="984702"/>
                </a:lnTo>
                <a:lnTo>
                  <a:pt x="1589024" y="990600"/>
                </a:lnTo>
                <a:lnTo>
                  <a:pt x="4078224" y="990600"/>
                </a:lnTo>
                <a:lnTo>
                  <a:pt x="4122115" y="984702"/>
                </a:lnTo>
                <a:lnTo>
                  <a:pt x="4161554" y="968059"/>
                </a:lnTo>
                <a:lnTo>
                  <a:pt x="4194968" y="942244"/>
                </a:lnTo>
                <a:lnTo>
                  <a:pt x="4220783" y="908830"/>
                </a:lnTo>
                <a:lnTo>
                  <a:pt x="4237426" y="869391"/>
                </a:lnTo>
                <a:lnTo>
                  <a:pt x="4243324" y="8255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19676" y="4419600"/>
            <a:ext cx="4243705" cy="1402080"/>
          </a:xfrm>
          <a:custGeom>
            <a:avLst/>
            <a:gdLst/>
            <a:ahLst/>
            <a:cxnLst/>
            <a:rect l="l" t="t" r="r" b="b"/>
            <a:pathLst>
              <a:path w="4243705" h="1402079">
                <a:moveTo>
                  <a:pt x="1423924" y="165100"/>
                </a:moveTo>
                <a:lnTo>
                  <a:pt x="1429821" y="121208"/>
                </a:lnTo>
                <a:lnTo>
                  <a:pt x="1446464" y="81769"/>
                </a:lnTo>
                <a:lnTo>
                  <a:pt x="1472279" y="48355"/>
                </a:lnTo>
                <a:lnTo>
                  <a:pt x="1505693" y="22540"/>
                </a:lnTo>
                <a:lnTo>
                  <a:pt x="1545132" y="5897"/>
                </a:lnTo>
                <a:lnTo>
                  <a:pt x="1589024" y="0"/>
                </a:lnTo>
                <a:lnTo>
                  <a:pt x="1893824" y="0"/>
                </a:lnTo>
                <a:lnTo>
                  <a:pt x="2598674" y="0"/>
                </a:lnTo>
                <a:lnTo>
                  <a:pt x="4078224" y="0"/>
                </a:lnTo>
                <a:lnTo>
                  <a:pt x="4122115" y="5897"/>
                </a:lnTo>
                <a:lnTo>
                  <a:pt x="4161554" y="22540"/>
                </a:lnTo>
                <a:lnTo>
                  <a:pt x="4194968" y="48355"/>
                </a:lnTo>
                <a:lnTo>
                  <a:pt x="4220783" y="81769"/>
                </a:lnTo>
                <a:lnTo>
                  <a:pt x="4237426" y="121208"/>
                </a:lnTo>
                <a:lnTo>
                  <a:pt x="4243324" y="165100"/>
                </a:lnTo>
                <a:lnTo>
                  <a:pt x="4243324" y="577850"/>
                </a:lnTo>
                <a:lnTo>
                  <a:pt x="4243324" y="825500"/>
                </a:lnTo>
                <a:lnTo>
                  <a:pt x="4237426" y="869391"/>
                </a:lnTo>
                <a:lnTo>
                  <a:pt x="4220783" y="908830"/>
                </a:lnTo>
                <a:lnTo>
                  <a:pt x="4194968" y="942244"/>
                </a:lnTo>
                <a:lnTo>
                  <a:pt x="4161554" y="968059"/>
                </a:lnTo>
                <a:lnTo>
                  <a:pt x="4122115" y="984702"/>
                </a:lnTo>
                <a:lnTo>
                  <a:pt x="4078224" y="990600"/>
                </a:lnTo>
                <a:lnTo>
                  <a:pt x="2598674" y="990600"/>
                </a:lnTo>
                <a:lnTo>
                  <a:pt x="1893824" y="990600"/>
                </a:lnTo>
                <a:lnTo>
                  <a:pt x="1589024" y="990600"/>
                </a:lnTo>
                <a:lnTo>
                  <a:pt x="1545132" y="984702"/>
                </a:lnTo>
                <a:lnTo>
                  <a:pt x="1505693" y="968059"/>
                </a:lnTo>
                <a:lnTo>
                  <a:pt x="1472279" y="942244"/>
                </a:lnTo>
                <a:lnTo>
                  <a:pt x="1446464" y="908830"/>
                </a:lnTo>
                <a:lnTo>
                  <a:pt x="1429821" y="869391"/>
                </a:lnTo>
                <a:lnTo>
                  <a:pt x="1423924" y="825500"/>
                </a:lnTo>
                <a:lnTo>
                  <a:pt x="0" y="1401749"/>
                </a:lnTo>
                <a:lnTo>
                  <a:pt x="1423924" y="577850"/>
                </a:lnTo>
                <a:lnTo>
                  <a:pt x="1423924" y="165100"/>
                </a:lnTo>
                <a:close/>
              </a:path>
            </a:pathLst>
          </a:custGeom>
          <a:ln w="9525">
            <a:solidFill>
              <a:srgbClr val="F1FFE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071742" y="4509134"/>
            <a:ext cx="2205990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985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Material entered </a:t>
            </a:r>
            <a:r>
              <a:rPr sz="1400" b="1" spc="-5" dirty="0">
                <a:latin typeface="Arial"/>
                <a:cs typeface="Arial"/>
              </a:rPr>
              <a:t>only</a:t>
            </a:r>
            <a:r>
              <a:rPr sz="1400" b="1" spc="-190" dirty="0">
                <a:latin typeface="Arial"/>
                <a:cs typeface="Arial"/>
              </a:rPr>
              <a:t> </a:t>
            </a:r>
            <a:r>
              <a:rPr sz="1400" b="1" spc="5" dirty="0">
                <a:latin typeface="Arial"/>
                <a:cs typeface="Arial"/>
              </a:rPr>
              <a:t>with  </a:t>
            </a:r>
            <a:r>
              <a:rPr sz="1400" b="1" spc="-5" dirty="0">
                <a:latin typeface="Arial"/>
                <a:cs typeface="Arial"/>
              </a:rPr>
              <a:t>description </a:t>
            </a:r>
            <a:r>
              <a:rPr sz="1400" b="1" dirty="0">
                <a:latin typeface="Arial"/>
                <a:cs typeface="Arial"/>
              </a:rPr>
              <a:t>text</a:t>
            </a:r>
            <a:r>
              <a:rPr sz="1400" b="1" spc="-1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-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no </a:t>
            </a:r>
            <a:r>
              <a:rPr sz="1400" b="1" dirty="0">
                <a:latin typeface="Arial"/>
                <a:cs typeface="Arial"/>
              </a:rPr>
              <a:t>material master</a:t>
            </a:r>
            <a:r>
              <a:rPr sz="1400" b="1" spc="-14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record  </a:t>
            </a:r>
            <a:r>
              <a:rPr sz="1400" b="1" spc="-5" dirty="0">
                <a:latin typeface="Arial"/>
                <a:cs typeface="Arial"/>
              </a:rPr>
              <a:t>required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6858000" cy="492443"/>
          </a:xfrm>
        </p:spPr>
        <p:txBody>
          <a:bodyPr wrap="square" lIns="0" tIns="0" rIns="0" bIns="0">
            <a:spAutoFit/>
          </a:bodyPr>
          <a:lstStyle/>
          <a:p>
            <a:r>
              <a:rPr lang="en-US" altLang="en-US" sz="3200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685800" y="1219200"/>
            <a:ext cx="5095875" cy="5170646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Sales-Transactions</a:t>
            </a:r>
          </a:p>
          <a:p>
            <a:pPr eaLnBrk="1" hangingPunct="1"/>
            <a:r>
              <a:rPr lang="en-US" altLang="en-US" dirty="0" smtClean="0"/>
              <a:t>Inquiry</a:t>
            </a:r>
          </a:p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Quotation</a:t>
            </a:r>
          </a:p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Sales Order-Header</a:t>
            </a:r>
          </a:p>
          <a:p>
            <a:pPr marL="557213" lvl="1" indent="-214313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chemeClr val="tx1"/>
                </a:solidFill>
              </a:rPr>
              <a:t>Sales Order-Header Views</a:t>
            </a:r>
          </a:p>
          <a:p>
            <a:pPr marL="280988" lvl="1" indent="-280988">
              <a:buClr>
                <a:schemeClr val="tx2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en-US" altLang="en-US" sz="2400" dirty="0" smtClean="0">
                <a:solidFill>
                  <a:schemeClr val="tx1"/>
                </a:solidFill>
                <a:latin typeface="Arial"/>
                <a:cs typeface="Arial"/>
              </a:rPr>
              <a:t>Sales Order-Item</a:t>
            </a:r>
          </a:p>
          <a:p>
            <a:pPr marL="557213" lvl="1" indent="-214313" eaLnBrk="1" hangingPunct="1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tx1"/>
                </a:solidFill>
              </a:rPr>
              <a:t>Sales </a:t>
            </a:r>
            <a:r>
              <a:rPr lang="en-US" altLang="en-US" dirty="0" smtClean="0">
                <a:solidFill>
                  <a:schemeClr val="tx1"/>
                </a:solidFill>
              </a:rPr>
              <a:t>Order-Item Views</a:t>
            </a:r>
            <a:endParaRPr lang="en-US" altLang="en-US" dirty="0">
              <a:solidFill>
                <a:schemeClr val="tx1"/>
              </a:solidFill>
            </a:endParaRP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Sales Order-Environment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Sales Order-Enhanced Function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Copy Controls-Header Level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Copy Controls-Item Level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Copy Control-Schedule Line Level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Transaction Codes</a:t>
            </a:r>
          </a:p>
          <a:p>
            <a:pPr marL="257175" lvl="1" indent="-257175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altLang="en-US" sz="2400" dirty="0">
                <a:solidFill>
                  <a:schemeClr val="tx1"/>
                </a:solidFill>
                <a:latin typeface="Arial"/>
                <a:cs typeface="Arial"/>
              </a:rPr>
              <a:t>Additional </a:t>
            </a:r>
            <a:r>
              <a:rPr lang="en-US" altLang="en-US" sz="2400" dirty="0" smtClean="0">
                <a:solidFill>
                  <a:schemeClr val="tx1"/>
                </a:solidFill>
                <a:latin typeface="Arial"/>
                <a:cs typeface="Arial"/>
              </a:rPr>
              <a:t>Info</a:t>
            </a:r>
            <a:endParaRPr lang="en-US" altLang="en-US" sz="2400" dirty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702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36600" y="305053"/>
            <a:ext cx="2665095" cy="670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Quo</a:t>
            </a:r>
            <a:r>
              <a:rPr spc="-15" dirty="0"/>
              <a:t>t</a:t>
            </a:r>
            <a:r>
              <a:rPr dirty="0"/>
              <a:t>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09600" y="1231337"/>
            <a:ext cx="7783508" cy="11387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A </a:t>
            </a:r>
            <a:r>
              <a:rPr sz="1600" b="1" spc="-10" dirty="0">
                <a:latin typeface="Arial"/>
                <a:cs typeface="Arial"/>
              </a:rPr>
              <a:t>quotation </a:t>
            </a:r>
            <a:r>
              <a:rPr sz="1600" b="1" spc="-5" dirty="0">
                <a:latin typeface="Arial"/>
                <a:cs typeface="Arial"/>
              </a:rPr>
              <a:t>can be created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spc="-5" dirty="0">
                <a:latin typeface="Arial"/>
                <a:cs typeface="Arial"/>
              </a:rPr>
              <a:t>or </a:t>
            </a:r>
            <a:r>
              <a:rPr sz="1600" b="1" dirty="0">
                <a:latin typeface="Arial"/>
                <a:cs typeface="Arial"/>
              </a:rPr>
              <a:t>without </a:t>
            </a:r>
            <a:r>
              <a:rPr sz="1600" b="1" spc="-5" dirty="0">
                <a:latin typeface="Arial"/>
                <a:cs typeface="Arial"/>
              </a:rPr>
              <a:t>reference to an</a:t>
            </a:r>
            <a:r>
              <a:rPr sz="1600" b="1" spc="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inquiry</a:t>
            </a:r>
            <a:endParaRPr sz="1600" dirty="0">
              <a:latin typeface="Arial"/>
              <a:cs typeface="Arial"/>
            </a:endParaRPr>
          </a:p>
          <a:p>
            <a:pPr marL="298450" indent="-285750">
              <a:lnSpc>
                <a:spcPct val="100000"/>
              </a:lnSpc>
              <a:spcBef>
                <a:spcPts val="57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Quotations </a:t>
            </a:r>
            <a:r>
              <a:rPr sz="1600" b="1" spc="-5" dirty="0">
                <a:latin typeface="Arial"/>
                <a:cs typeface="Arial"/>
              </a:rPr>
              <a:t>are offers from a sales area to a customer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delivering materials</a:t>
            </a:r>
            <a:r>
              <a:rPr sz="1600" b="1" spc="340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or</a:t>
            </a:r>
            <a:r>
              <a:rPr lang="en-US" sz="1600" b="1" spc="-5" dirty="0" smtClean="0">
                <a:latin typeface="Arial"/>
                <a:cs typeface="Arial"/>
              </a:rPr>
              <a:t> </a:t>
            </a:r>
            <a:r>
              <a:rPr sz="1600" b="1" spc="-10" dirty="0" smtClean="0">
                <a:latin typeface="Arial"/>
                <a:cs typeface="Arial"/>
              </a:rPr>
              <a:t>providing </a:t>
            </a:r>
            <a:r>
              <a:rPr sz="1600" b="1" spc="-10" dirty="0">
                <a:latin typeface="Arial"/>
                <a:cs typeface="Arial"/>
              </a:rPr>
              <a:t>services </a:t>
            </a:r>
            <a:r>
              <a:rPr sz="1600" b="1" spc="-5" dirty="0">
                <a:latin typeface="Arial"/>
                <a:cs typeface="Arial"/>
              </a:rPr>
              <a:t>under specified</a:t>
            </a:r>
            <a:r>
              <a:rPr sz="1600" b="1" spc="145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conditions</a:t>
            </a:r>
            <a:endParaRPr sz="1600" dirty="0">
              <a:latin typeface="Arial"/>
              <a:cs typeface="Arial"/>
            </a:endParaRPr>
          </a:p>
          <a:p>
            <a:pPr marL="298450" indent="-285750">
              <a:lnSpc>
                <a:spcPct val="100000"/>
              </a:lnSpc>
              <a:spcBef>
                <a:spcPts val="57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Quotations </a:t>
            </a:r>
            <a:r>
              <a:rPr sz="1600" b="1" spc="-5" dirty="0">
                <a:latin typeface="Arial"/>
                <a:cs typeface="Arial"/>
              </a:rPr>
              <a:t>are legally binding </a:t>
            </a:r>
            <a:r>
              <a:rPr sz="1600" b="1" spc="-10" dirty="0">
                <a:latin typeface="Arial"/>
                <a:cs typeface="Arial"/>
              </a:rPr>
              <a:t>throughout the </a:t>
            </a:r>
            <a:r>
              <a:rPr sz="1600" b="1" spc="-15" dirty="0">
                <a:latin typeface="Arial"/>
                <a:cs typeface="Arial"/>
              </a:rPr>
              <a:t>given </a:t>
            </a:r>
            <a:r>
              <a:rPr sz="1600" b="1" spc="-10" dirty="0">
                <a:latin typeface="Arial"/>
                <a:cs typeface="Arial"/>
              </a:rPr>
              <a:t>validity</a:t>
            </a:r>
            <a:r>
              <a:rPr sz="1600" b="1" spc="400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period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278127" y="2398685"/>
            <a:ext cx="5732399" cy="3886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278127" y="2398685"/>
            <a:ext cx="5761355" cy="3914775"/>
          </a:xfrm>
          <a:custGeom>
            <a:avLst/>
            <a:gdLst/>
            <a:ahLst/>
            <a:cxnLst/>
            <a:rect l="l" t="t" r="r" b="b"/>
            <a:pathLst>
              <a:path w="5761355" h="3914775">
                <a:moveTo>
                  <a:pt x="0" y="3914775"/>
                </a:moveTo>
                <a:lnTo>
                  <a:pt x="5760974" y="3914775"/>
                </a:lnTo>
                <a:lnTo>
                  <a:pt x="5760974" y="0"/>
                </a:lnTo>
                <a:lnTo>
                  <a:pt x="0" y="0"/>
                </a:lnTo>
                <a:lnTo>
                  <a:pt x="0" y="3914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7949" y="290703"/>
            <a:ext cx="5556885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Sales </a:t>
            </a:r>
            <a:r>
              <a:rPr spc="-5" dirty="0"/>
              <a:t>Order </a:t>
            </a:r>
            <a:r>
              <a:rPr dirty="0"/>
              <a:t>-</a:t>
            </a:r>
            <a:r>
              <a:rPr spc="-60" dirty="0"/>
              <a:t> </a:t>
            </a:r>
            <a:r>
              <a:rPr dirty="0"/>
              <a:t>Header</a:t>
            </a:r>
          </a:p>
        </p:txBody>
      </p:sp>
      <p:sp>
        <p:nvSpPr>
          <p:cNvPr id="3" name="object 3"/>
          <p:cNvSpPr/>
          <p:nvPr/>
        </p:nvSpPr>
        <p:spPr>
          <a:xfrm>
            <a:off x="914400" y="1143000"/>
            <a:ext cx="6934200" cy="4953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00112" y="1128712"/>
            <a:ext cx="6962775" cy="4981575"/>
          </a:xfrm>
          <a:custGeom>
            <a:avLst/>
            <a:gdLst/>
            <a:ahLst/>
            <a:cxnLst/>
            <a:rect l="l" t="t" r="r" b="b"/>
            <a:pathLst>
              <a:path w="6962775" h="4981575">
                <a:moveTo>
                  <a:pt x="0" y="4981575"/>
                </a:moveTo>
                <a:lnTo>
                  <a:pt x="6962775" y="4981575"/>
                </a:lnTo>
                <a:lnTo>
                  <a:pt x="6962775" y="0"/>
                </a:lnTo>
                <a:lnTo>
                  <a:pt x="0" y="0"/>
                </a:lnTo>
                <a:lnTo>
                  <a:pt x="0" y="4981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spc="-5" dirty="0"/>
              <a:t>Sales Order – Header</a:t>
            </a:r>
            <a:r>
              <a:rPr spc="20" dirty="0"/>
              <a:t> </a:t>
            </a:r>
            <a:r>
              <a:rPr spc="-5" dirty="0"/>
              <a:t>Views</a:t>
            </a:r>
            <a:endParaRPr dirty="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10305295"/>
              </p:ext>
            </p:extLst>
          </p:nvPr>
        </p:nvGraphicFramePr>
        <p:xfrm>
          <a:off x="213387" y="1600200"/>
          <a:ext cx="8763000" cy="4602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39213"/>
                <a:gridCol w="1051587"/>
                <a:gridCol w="6172200"/>
              </a:tblGrid>
              <a:tr h="51816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Important</a:t>
                      </a:r>
                      <a:r>
                        <a:rPr sz="1400" b="1" spc="-1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Fields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Screen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Application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1005839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Sol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40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Party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4892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Main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c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en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2382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Each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les order is assign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unique sales area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(sale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rganization, distribution  channel, or division).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f ther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ster data for the sold-to party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 several sale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reas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  selectio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cree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ppears where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a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hoos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les area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you</a:t>
                      </a:r>
                      <a:r>
                        <a:rPr sz="14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require.</a:t>
                      </a:r>
                      <a:endParaRPr sz="1400" dirty="0">
                        <a:latin typeface="Arial"/>
                        <a:cs typeface="Arial"/>
                      </a:endParaRPr>
                    </a:p>
                    <a:p>
                      <a:pPr marL="85090" marR="32067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If ther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re several possibl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old-to parties for the ship-to 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party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ystem displays a  selectio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cree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ith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ossible</a:t>
                      </a:r>
                      <a:r>
                        <a:rPr sz="14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lternatives.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Order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yp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Sales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1400" spc="-10" dirty="0">
                          <a:latin typeface="Arial"/>
                          <a:cs typeface="Arial"/>
                        </a:rPr>
                        <a:t>View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A classification tha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stinguishes between different type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les</a:t>
                      </a:r>
                      <a:r>
                        <a:rPr sz="1400" spc="-1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ocument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Blocking</a:t>
                      </a:r>
                      <a:r>
                        <a:rPr sz="1400" spc="-1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ocument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35052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Sales 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View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ders,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an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block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transactions for shipping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r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</a:t>
                      </a:r>
                      <a:r>
                        <a:rPr sz="1400" spc="-1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billing.</a:t>
                      </a:r>
                      <a:endParaRPr sz="1400" dirty="0">
                        <a:latin typeface="Arial"/>
                        <a:cs typeface="Arial"/>
                      </a:endParaRP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Billing block can b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e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ocument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header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nd also i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dividual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tem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Reason for</a:t>
                      </a:r>
                      <a:r>
                        <a:rPr sz="1400" spc="-10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Rejection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35052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Sales 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View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7432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45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a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ject item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 sales documents.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give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items the status o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ompleted.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business transaction thu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b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oncluded</a:t>
                      </a:r>
                      <a:r>
                        <a:rPr sz="1400" spc="-2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ithout deleting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item.</a:t>
                      </a:r>
                    </a:p>
                    <a:p>
                      <a:pPr marL="85090" marR="526415">
                        <a:lnSpc>
                          <a:spcPct val="100000"/>
                        </a:lnSpc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Also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 reaso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rejection allows 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find ou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hat your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ustomer thinks of</a:t>
                      </a:r>
                      <a:r>
                        <a:rPr sz="1400" spc="-1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r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product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uring a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ertain time</a:t>
                      </a:r>
                      <a:r>
                        <a:rPr sz="1400" spc="-1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eriod.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640079">
                <a:tc>
                  <a:txBody>
                    <a:bodyPr/>
                    <a:lstStyle/>
                    <a:p>
                      <a:pPr marL="84455" marR="267970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Account</a:t>
                      </a:r>
                      <a:r>
                        <a:rPr sz="1400" spc="-1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ssignment  category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Billing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Using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accou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ssignment criteria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 variabl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/L accou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an be</a:t>
                      </a:r>
                      <a:r>
                        <a:rPr sz="1400" spc="-1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etermined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7949" y="290703"/>
            <a:ext cx="4811395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Sales </a:t>
            </a:r>
            <a:r>
              <a:rPr spc="-5" dirty="0"/>
              <a:t>Order </a:t>
            </a:r>
            <a:r>
              <a:rPr dirty="0"/>
              <a:t>-</a:t>
            </a:r>
            <a:r>
              <a:rPr spc="-60" dirty="0"/>
              <a:t> </a:t>
            </a:r>
            <a:r>
              <a:rPr dirty="0"/>
              <a:t>Item</a:t>
            </a:r>
          </a:p>
        </p:txBody>
      </p:sp>
      <p:sp>
        <p:nvSpPr>
          <p:cNvPr id="3" name="object 3"/>
          <p:cNvSpPr/>
          <p:nvPr/>
        </p:nvSpPr>
        <p:spPr>
          <a:xfrm>
            <a:off x="990600" y="1143000"/>
            <a:ext cx="6885051" cy="4953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76312" y="1128712"/>
            <a:ext cx="6913880" cy="4981575"/>
          </a:xfrm>
          <a:custGeom>
            <a:avLst/>
            <a:gdLst/>
            <a:ahLst/>
            <a:cxnLst/>
            <a:rect l="l" t="t" r="r" b="b"/>
            <a:pathLst>
              <a:path w="6913880" h="4981575">
                <a:moveTo>
                  <a:pt x="0" y="4981575"/>
                </a:moveTo>
                <a:lnTo>
                  <a:pt x="6913626" y="4981575"/>
                </a:lnTo>
                <a:lnTo>
                  <a:pt x="6913626" y="0"/>
                </a:lnTo>
                <a:lnTo>
                  <a:pt x="0" y="0"/>
                </a:lnTo>
                <a:lnTo>
                  <a:pt x="0" y="4981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spc="-5" dirty="0"/>
              <a:t>Sales Order – Item</a:t>
            </a:r>
            <a:r>
              <a:rPr spc="5" dirty="0"/>
              <a:t> </a:t>
            </a:r>
            <a:r>
              <a:rPr spc="-5" dirty="0"/>
              <a:t>Views</a:t>
            </a:r>
            <a:endParaRPr dirty="0"/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222250" y="1262125"/>
          <a:ext cx="8763000" cy="49440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4000"/>
                <a:gridCol w="1066800"/>
                <a:gridCol w="6172200"/>
              </a:tblGrid>
              <a:tr h="51816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Important</a:t>
                      </a:r>
                      <a:endParaRPr sz="1400" dirty="0">
                        <a:latin typeface="Arial"/>
                        <a:cs typeface="Arial"/>
                      </a:endParaRPr>
                    </a:p>
                    <a:p>
                      <a:pPr marL="84455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Fields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Screen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Application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640079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Material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ale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33083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each material 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order,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ystem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automatically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roposes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ata from the 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relevant material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master records, such as data fo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ricing, 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delivery,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cheduling,  availability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heck, tax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termination, weight and volume</a:t>
                      </a:r>
                      <a:r>
                        <a:rPr sz="12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termination.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Delivering</a:t>
                      </a:r>
                      <a:r>
                        <a:rPr sz="1200" spc="-10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lan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ales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30226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200" spc="-2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lant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s require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sourc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ventory 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order.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plant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an be defaulted on 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riority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custome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material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information record, then look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hip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party  customer maste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n 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material</a:t>
                      </a:r>
                      <a:r>
                        <a:rPr sz="1200" spc="-1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master.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822959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hipping</a:t>
                      </a:r>
                      <a:r>
                        <a:rPr sz="120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oin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hipping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3462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hipping</a:t>
                      </a:r>
                      <a:r>
                        <a:rPr sz="12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oint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is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utomatically</a:t>
                      </a:r>
                      <a:r>
                        <a:rPr sz="12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etermined</a:t>
                      </a:r>
                      <a:r>
                        <a:rPr sz="12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n the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ombination</a:t>
                      </a:r>
                      <a:r>
                        <a:rPr sz="12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 delivering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lant 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based o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lant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terminatio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r manual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override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ales order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item, the shipping 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onditio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ol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party customer master record (Sales Area Data,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iew: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hipping)  an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loading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group 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material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master (Sales: General/Plant Data</a:t>
                      </a:r>
                      <a:r>
                        <a:rPr sz="1200" spc="-2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iew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6355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hipping</a:t>
                      </a:r>
                      <a:r>
                        <a:rPr sz="1200" spc="-7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onditio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hipping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66065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The shipping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ondition 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customer maste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re used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o defin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ustomers</a:t>
                      </a:r>
                      <a:r>
                        <a:rPr sz="1200" spc="-20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livery  requirements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(Sales Area Data,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iew:</a:t>
                      </a:r>
                      <a:r>
                        <a:rPr sz="1200" spc="-1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hipping).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1554416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Rout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Shipping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91440">
                        <a:lnSpc>
                          <a:spcPct val="100000"/>
                        </a:lnSpc>
                        <a:spcBef>
                          <a:spcPts val="3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A Rout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s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ransportation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ath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utbound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from 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livering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lant to the  ship-to 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party.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AP R/3 uses four data element as search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keys 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termining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route 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automatically.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se data elements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are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: 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parture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ransportation Zone found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  customizing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for the shipping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oint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efinition, the shipping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conditio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found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customer  master</a:t>
                      </a:r>
                      <a:r>
                        <a:rPr sz="12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sold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party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(Sales</a:t>
                      </a:r>
                      <a:r>
                        <a:rPr sz="1200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Area</a:t>
                      </a:r>
                      <a:r>
                        <a:rPr sz="12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ata;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Shipping</a:t>
                      </a:r>
                      <a:r>
                        <a:rPr sz="12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view),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ransportation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group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found 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material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master (Sales: General/Plant Data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iew)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and 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estination  transportation zone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found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he ship-to party master data record (General/Plant;  Address</a:t>
                      </a:r>
                      <a:r>
                        <a:rPr sz="120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iew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Pricing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Conditio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R00 is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defined as the mandatory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pricing</a:t>
                      </a:r>
                      <a:r>
                        <a:rPr sz="1200" spc="-1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condition.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28600" y="261596"/>
            <a:ext cx="7078980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Sales </a:t>
            </a:r>
            <a:r>
              <a:rPr spc="-5" dirty="0"/>
              <a:t>Order </a:t>
            </a:r>
            <a:r>
              <a:rPr dirty="0"/>
              <a:t>-</a:t>
            </a:r>
            <a:r>
              <a:rPr spc="-45" dirty="0"/>
              <a:t> </a:t>
            </a:r>
            <a:r>
              <a:rPr dirty="0"/>
              <a:t>Environment</a:t>
            </a:r>
          </a:p>
        </p:txBody>
      </p:sp>
      <p:sp>
        <p:nvSpPr>
          <p:cNvPr id="3" name="object 3"/>
          <p:cNvSpPr/>
          <p:nvPr/>
        </p:nvSpPr>
        <p:spPr>
          <a:xfrm>
            <a:off x="471868" y="999058"/>
            <a:ext cx="7313549" cy="52863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7389" y="970483"/>
            <a:ext cx="7342505" cy="5314950"/>
          </a:xfrm>
          <a:custGeom>
            <a:avLst/>
            <a:gdLst/>
            <a:ahLst/>
            <a:cxnLst/>
            <a:rect l="l" t="t" r="r" b="b"/>
            <a:pathLst>
              <a:path w="7342505" h="5314950">
                <a:moveTo>
                  <a:pt x="0" y="5314950"/>
                </a:moveTo>
                <a:lnTo>
                  <a:pt x="7342251" y="5314950"/>
                </a:lnTo>
                <a:lnTo>
                  <a:pt x="7342251" y="0"/>
                </a:lnTo>
                <a:lnTo>
                  <a:pt x="0" y="0"/>
                </a:lnTo>
                <a:lnTo>
                  <a:pt x="0" y="53149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228600"/>
            <a:ext cx="879967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ales Order –</a:t>
            </a:r>
            <a:r>
              <a:rPr spc="-55" dirty="0"/>
              <a:t> </a:t>
            </a:r>
            <a:r>
              <a:rPr dirty="0"/>
              <a:t>Environment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40356707"/>
              </p:ext>
            </p:extLst>
          </p:nvPr>
        </p:nvGraphicFramePr>
        <p:xfrm>
          <a:off x="208838" y="1448245"/>
          <a:ext cx="8763000" cy="49377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76400"/>
                <a:gridCol w="1447800"/>
                <a:gridCol w="5638800"/>
              </a:tblGrid>
              <a:tr h="51816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Important</a:t>
                      </a:r>
                      <a:r>
                        <a:rPr sz="1400" b="1" spc="3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Fields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400" b="1" dirty="0">
                          <a:latin typeface="Arial"/>
                          <a:cs typeface="Arial"/>
                        </a:rPr>
                        <a:t>Menu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latin typeface="Arial"/>
                          <a:cs typeface="Arial"/>
                        </a:rPr>
                        <a:t>Application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547751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Partner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121285">
                        <a:lnSpc>
                          <a:spcPct val="100000"/>
                        </a:lnSpc>
                        <a:spcBef>
                          <a:spcPts val="915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navigatio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enu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helps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splaying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customer master record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old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party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hip-to 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party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bill-to 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party,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payer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redit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ccou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nd sales</a:t>
                      </a:r>
                      <a:r>
                        <a:rPr sz="1400" spc="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summary.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640079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List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1651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navigation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gi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list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les document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uch as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inquiry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quotation, sales 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order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ontract &amp;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cheduling agreement an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tem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roposals. Online list display  documents with a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pecific status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llow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review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hange</a:t>
                      </a:r>
                      <a:r>
                        <a:rPr sz="1400" spc="-1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ocuments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Status</a:t>
                      </a:r>
                      <a:r>
                        <a:rPr sz="140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verview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24574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status o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ocument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oth at Header &amp; Each Item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–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ir </a:t>
                      </a:r>
                      <a:r>
                        <a:rPr sz="1400" spc="-25" dirty="0">
                          <a:latin typeface="Arial"/>
                          <a:cs typeface="Arial"/>
                        </a:rPr>
                        <a:t>Total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rocessing – Being processed or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ompleted an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tatu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– partially  delivered or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omplete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nd rejectio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tatu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– partiall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jecte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r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ully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jected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701039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Document</a:t>
                      </a:r>
                      <a:r>
                        <a:rPr sz="1400" spc="-1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low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19558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Document flow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r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updated for 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veral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ocume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dividua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tems.  </a:t>
                      </a:r>
                      <a:r>
                        <a:rPr sz="1400" spc="-45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an branch directl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 relat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ocument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n return to  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ocument</a:t>
                      </a:r>
                      <a:r>
                        <a:rPr sz="140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flow.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Material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305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aterial details i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ateria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st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an be view with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is</a:t>
                      </a:r>
                      <a:r>
                        <a:rPr sz="14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navigation.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Availability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305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gi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stock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vailabilit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the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terial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84455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Analysi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9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nvironment</a:t>
                      </a:r>
                      <a:r>
                        <a:rPr sz="14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-&gt;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178435">
                        <a:lnSpc>
                          <a:spcPct val="100000"/>
                        </a:lnSpc>
                        <a:spcBef>
                          <a:spcPts val="305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This menu path take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for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ccount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termination, materia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determination,</a:t>
                      </a:r>
                      <a:r>
                        <a:rPr sz="1400" spc="-229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ree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goods, listing and exclusion on /off</a:t>
                      </a:r>
                      <a:r>
                        <a:rPr sz="14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tatus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2362200" y="4572000"/>
            <a:ext cx="439737" cy="381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6540" y="304800"/>
            <a:ext cx="843026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Sales Order – Enhanced</a:t>
            </a:r>
            <a:r>
              <a:rPr spc="-25" dirty="0"/>
              <a:t> </a:t>
            </a:r>
            <a:r>
              <a:rPr spc="-5" dirty="0"/>
              <a:t>Functions</a:t>
            </a:r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533400" y="1371600"/>
            <a:ext cx="3962400" cy="4038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19112" y="1357249"/>
            <a:ext cx="3990975" cy="4067175"/>
          </a:xfrm>
          <a:custGeom>
            <a:avLst/>
            <a:gdLst/>
            <a:ahLst/>
            <a:cxnLst/>
            <a:rect l="l" t="t" r="r" b="b"/>
            <a:pathLst>
              <a:path w="3990975" h="4067175">
                <a:moveTo>
                  <a:pt x="0" y="4067175"/>
                </a:moveTo>
                <a:lnTo>
                  <a:pt x="3990975" y="4067175"/>
                </a:lnTo>
                <a:lnTo>
                  <a:pt x="3990975" y="0"/>
                </a:lnTo>
                <a:lnTo>
                  <a:pt x="0" y="0"/>
                </a:lnTo>
                <a:lnTo>
                  <a:pt x="0" y="4067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648200" y="1371600"/>
            <a:ext cx="4038600" cy="4038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633848" y="1357249"/>
            <a:ext cx="4067175" cy="4067175"/>
          </a:xfrm>
          <a:custGeom>
            <a:avLst/>
            <a:gdLst/>
            <a:ahLst/>
            <a:cxnLst/>
            <a:rect l="l" t="t" r="r" b="b"/>
            <a:pathLst>
              <a:path w="4067175" h="4067175">
                <a:moveTo>
                  <a:pt x="0" y="4067175"/>
                </a:moveTo>
                <a:lnTo>
                  <a:pt x="4067175" y="4067175"/>
                </a:lnTo>
                <a:lnTo>
                  <a:pt x="4067175" y="0"/>
                </a:lnTo>
                <a:lnTo>
                  <a:pt x="0" y="0"/>
                </a:lnTo>
                <a:lnTo>
                  <a:pt x="0" y="4067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spc="-5" dirty="0"/>
              <a:t>Sales Order – Enhanced</a:t>
            </a:r>
            <a:r>
              <a:rPr spc="15" dirty="0"/>
              <a:t> </a:t>
            </a:r>
            <a:r>
              <a:rPr spc="-5" dirty="0"/>
              <a:t>Functions</a:t>
            </a:r>
            <a:endParaRPr dirty="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04425122"/>
              </p:ext>
            </p:extLst>
          </p:nvPr>
        </p:nvGraphicFramePr>
        <p:xfrm>
          <a:off x="374650" y="1365250"/>
          <a:ext cx="8382000" cy="4937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76400"/>
                <a:gridCol w="762000"/>
                <a:gridCol w="5943600"/>
              </a:tblGrid>
              <a:tr h="3048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600" b="1" spc="-5" dirty="0">
                          <a:latin typeface="Arial"/>
                          <a:cs typeface="Arial"/>
                        </a:rPr>
                        <a:t>Important</a:t>
                      </a:r>
                      <a:r>
                        <a:rPr sz="1600" b="1" spc="-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Fields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600" b="1" dirty="0">
                          <a:latin typeface="Arial"/>
                          <a:cs typeface="Arial"/>
                        </a:rPr>
                        <a:t>Men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r>
                        <a:rPr sz="1600" b="1" spc="-5" dirty="0">
                          <a:latin typeface="Arial"/>
                          <a:cs typeface="Arial"/>
                        </a:rPr>
                        <a:t>Applicatio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Fast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Change</a:t>
                      </a:r>
                      <a:r>
                        <a:rPr sz="1600" spc="-1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of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dit</a:t>
                      </a:r>
                      <a:r>
                        <a:rPr sz="16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-&gt;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76530">
                        <a:lnSpc>
                          <a:spcPct val="100000"/>
                        </a:lnSpc>
                        <a:spcBef>
                          <a:spcPts val="660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The fas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function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allows </a:t>
                      </a:r>
                      <a:r>
                        <a:rPr sz="1600" spc="-1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more than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one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item a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once during  sales order processing.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applie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o the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reaso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for rejection,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block,</a:t>
                      </a:r>
                      <a:r>
                        <a:rPr sz="1600" spc="-1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billing 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block,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date,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delivery priority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delivery</a:t>
                      </a:r>
                      <a:r>
                        <a:rPr sz="160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plant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8382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Sales</a:t>
                      </a:r>
                      <a:r>
                        <a:rPr sz="16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Summary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co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00965">
                        <a:lnSpc>
                          <a:spcPct val="100000"/>
                        </a:lnSpc>
                        <a:spcBef>
                          <a:spcPts val="420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summary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help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documents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a variety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relevant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information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about 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spc="-10" dirty="0">
                          <a:latin typeface="Arial"/>
                          <a:cs typeface="Arial"/>
                        </a:rPr>
                        <a:t>customer.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e information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sale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summary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s grouped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into info blocks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on  variou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opics such as Address, Key figures, Quick info, Contact person, Las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SD  document, Pricing</a:t>
                      </a:r>
                      <a:r>
                        <a:rPr sz="16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etc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ncompletion</a:t>
                      </a:r>
                      <a:r>
                        <a:rPr sz="1600" spc="-1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Log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dit</a:t>
                      </a:r>
                      <a:r>
                        <a:rPr sz="16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-&gt;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87630">
                        <a:lnSpc>
                          <a:spcPct val="100000"/>
                        </a:lnSpc>
                        <a:spcBef>
                          <a:spcPts val="900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An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ncompletion log is a list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all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e data tha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ha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no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yet bee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entered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system, 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but tha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s essential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your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company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n a sales</a:t>
                      </a:r>
                      <a:r>
                        <a:rPr sz="16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document.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Packing</a:t>
                      </a:r>
                      <a:r>
                        <a:rPr sz="160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Proposal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dit</a:t>
                      </a:r>
                      <a:r>
                        <a:rPr sz="160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-&gt;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30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Packing</a:t>
                      </a:r>
                      <a:r>
                        <a:rPr sz="16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instructions</a:t>
                      </a:r>
                      <a:r>
                        <a:rPr sz="16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can</a:t>
                      </a:r>
                      <a:r>
                        <a:rPr sz="16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be</a:t>
                      </a:r>
                      <a:r>
                        <a:rPr sz="16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entered</a:t>
                      </a:r>
                      <a:r>
                        <a:rPr sz="16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into</a:t>
                      </a:r>
                      <a:r>
                        <a:rPr sz="16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sales</a:t>
                      </a:r>
                      <a:r>
                        <a:rPr sz="16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orders</a:t>
                      </a:r>
                      <a:r>
                        <a:rPr sz="16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and</a:t>
                      </a:r>
                      <a:r>
                        <a:rPr sz="16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scheduling</a:t>
                      </a:r>
                      <a:r>
                        <a:rPr sz="16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agreements.</a:t>
                      </a: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Using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is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nformation, a packing proposal is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created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6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spc="-15" dirty="0">
                          <a:latin typeface="Arial"/>
                          <a:cs typeface="Arial"/>
                        </a:rPr>
                        <a:t>delivery.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  <a:tr h="518160">
                <a:tc>
                  <a:txBody>
                    <a:bodyPr/>
                    <a:lstStyle/>
                    <a:p>
                      <a:pPr marL="85090" marR="44577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Shipment</a:t>
                      </a:r>
                      <a:r>
                        <a:rPr sz="1600" spc="-1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cost 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informatio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dit</a:t>
                      </a:r>
                      <a:r>
                        <a:rPr sz="160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-&gt;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43434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Simulatio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of shipment cos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can be carried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out at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sales order level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to </a:t>
                      </a:r>
                      <a:r>
                        <a:rPr sz="1600" spc="-5" dirty="0">
                          <a:latin typeface="Arial"/>
                          <a:cs typeface="Arial"/>
                        </a:rPr>
                        <a:t>plan </a:t>
                      </a:r>
                      <a:r>
                        <a:rPr sz="1600" dirty="0">
                          <a:latin typeface="Arial"/>
                          <a:cs typeface="Arial"/>
                        </a:rPr>
                        <a:t>for the  transport.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2133600" y="3048000"/>
            <a:ext cx="381000" cy="381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Copy Control – Header</a:t>
            </a:r>
            <a:r>
              <a:rPr spc="-80" dirty="0"/>
              <a:t> </a:t>
            </a:r>
            <a:r>
              <a:rPr dirty="0"/>
              <a:t>Leve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12140" y="5604459"/>
            <a:ext cx="8317865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8923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-&gt; Sales &amp; Distribution -&gt; Sales -&gt; Maintain </a:t>
            </a:r>
            <a:r>
              <a:rPr sz="1600" b="1" spc="-10" dirty="0">
                <a:latin typeface="Arial"/>
                <a:cs typeface="Arial"/>
              </a:rPr>
              <a:t>Copy </a:t>
            </a:r>
            <a:r>
              <a:rPr sz="1600" b="1" spc="-5" dirty="0">
                <a:latin typeface="Arial"/>
                <a:cs typeface="Arial"/>
              </a:rPr>
              <a:t>Controls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 Documents  IMG -&gt; Logistics Execution -&gt; Shipping -&gt; </a:t>
            </a:r>
            <a:r>
              <a:rPr sz="1600" b="1" spc="-10" dirty="0">
                <a:latin typeface="Arial"/>
                <a:cs typeface="Arial"/>
              </a:rPr>
              <a:t>Copy</a:t>
            </a:r>
            <a:r>
              <a:rPr sz="1600" b="1" spc="1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s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-&gt; Sales &amp; Distribution -&gt; Billing -&gt; Maintain </a:t>
            </a:r>
            <a:r>
              <a:rPr sz="1600" b="1" spc="-10" dirty="0">
                <a:latin typeface="Arial"/>
                <a:cs typeface="Arial"/>
              </a:rPr>
              <a:t>Copy </a:t>
            </a:r>
            <a:r>
              <a:rPr sz="1600" b="1" spc="-5" dirty="0">
                <a:latin typeface="Arial"/>
                <a:cs typeface="Arial"/>
              </a:rPr>
              <a:t>Controls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Billing</a:t>
            </a:r>
            <a:r>
              <a:rPr sz="1600" b="1" spc="39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umen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762000" y="2438400"/>
            <a:ext cx="6858000" cy="299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47712" y="2424048"/>
            <a:ext cx="6886575" cy="3019425"/>
          </a:xfrm>
          <a:custGeom>
            <a:avLst/>
            <a:gdLst/>
            <a:ahLst/>
            <a:cxnLst/>
            <a:rect l="l" t="t" r="r" b="b"/>
            <a:pathLst>
              <a:path w="6886575" h="3019425">
                <a:moveTo>
                  <a:pt x="0" y="3019425"/>
                </a:moveTo>
                <a:lnTo>
                  <a:pt x="6886575" y="3019425"/>
                </a:lnTo>
                <a:lnTo>
                  <a:pt x="6886575" y="0"/>
                </a:lnTo>
                <a:lnTo>
                  <a:pt x="0" y="0"/>
                </a:lnTo>
                <a:lnTo>
                  <a:pt x="0" y="30194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35940" y="1260094"/>
            <a:ext cx="8103870" cy="1016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Copying </a:t>
            </a:r>
            <a:r>
              <a:rPr sz="1600" b="1" spc="-5" dirty="0">
                <a:latin typeface="Arial"/>
                <a:cs typeface="Arial"/>
              </a:rPr>
              <a:t>requirements that </a:t>
            </a:r>
            <a:r>
              <a:rPr sz="1600" b="1" spc="-15" dirty="0">
                <a:latin typeface="Arial"/>
                <a:cs typeface="Arial"/>
              </a:rPr>
              <a:t>have </a:t>
            </a:r>
            <a:r>
              <a:rPr sz="1600" b="1" spc="-5" dirty="0">
                <a:latin typeface="Arial"/>
                <a:cs typeface="Arial"/>
              </a:rPr>
              <a:t>been included in </a:t>
            </a:r>
            <a:r>
              <a:rPr sz="1600" b="1" spc="-20" dirty="0">
                <a:latin typeface="Arial"/>
                <a:cs typeface="Arial"/>
              </a:rPr>
              <a:t>SAP </a:t>
            </a:r>
            <a:r>
              <a:rPr sz="1600" b="1" spc="-5" dirty="0">
                <a:latin typeface="Arial"/>
                <a:cs typeface="Arial"/>
              </a:rPr>
              <a:t>R/3 SD</a:t>
            </a:r>
            <a:r>
              <a:rPr sz="1600" b="1" spc="2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re:</a:t>
            </a:r>
            <a:endParaRPr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650" dirty="0">
              <a:latin typeface="Times New Roman"/>
              <a:cs typeface="Times New Roman"/>
            </a:endParaRPr>
          </a:p>
          <a:p>
            <a:pPr marL="298450" marR="5080" indent="-28575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b="1" spc="-5" dirty="0">
                <a:latin typeface="Arial"/>
                <a:cs typeface="Arial"/>
              </a:rPr>
              <a:t>Header </a:t>
            </a:r>
            <a:r>
              <a:rPr sz="1800" b="1" spc="-10" dirty="0">
                <a:latin typeface="Arial"/>
                <a:cs typeface="Arial"/>
              </a:rPr>
              <a:t>Level </a:t>
            </a:r>
            <a:r>
              <a:rPr sz="1800" b="1" dirty="0">
                <a:latin typeface="Arial"/>
                <a:cs typeface="Arial"/>
              </a:rPr>
              <a:t>: </a:t>
            </a:r>
            <a:r>
              <a:rPr sz="1600" b="1" spc="-10" dirty="0">
                <a:latin typeface="Arial"/>
                <a:cs typeface="Arial"/>
              </a:rPr>
              <a:t>Copying </a:t>
            </a:r>
            <a:r>
              <a:rPr sz="1600" b="1" spc="-5" dirty="0">
                <a:latin typeface="Arial"/>
                <a:cs typeface="Arial"/>
              </a:rPr>
              <a:t>requirement 001 checks,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instance, </a:t>
            </a:r>
            <a:r>
              <a:rPr sz="1600" b="1" dirty="0">
                <a:latin typeface="Arial"/>
                <a:cs typeface="Arial"/>
              </a:rPr>
              <a:t>whether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old-to  Party a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ales area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ource and target </a:t>
            </a:r>
            <a:r>
              <a:rPr sz="1600" b="1" spc="-10" dirty="0">
                <a:latin typeface="Arial"/>
                <a:cs typeface="Arial"/>
              </a:rPr>
              <a:t>documents </a:t>
            </a:r>
            <a:r>
              <a:rPr sz="1600" b="1" spc="-5" dirty="0">
                <a:latin typeface="Arial"/>
                <a:cs typeface="Arial"/>
              </a:rPr>
              <a:t>are </a:t>
            </a:r>
            <a:r>
              <a:rPr sz="1600" b="1" spc="-10" dirty="0">
                <a:latin typeface="Arial"/>
                <a:cs typeface="Arial"/>
              </a:rPr>
              <a:t>the</a:t>
            </a:r>
            <a:r>
              <a:rPr sz="1600" b="1" spc="28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ame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7703" y="152400"/>
            <a:ext cx="879967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Purpos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81000" y="1447800"/>
            <a:ext cx="8173084" cy="14824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 sales department of any organization carries </a:t>
            </a:r>
            <a:r>
              <a:rPr lang="en-US" sz="2200" spc="-5" dirty="0" smtClean="0">
                <a:latin typeface="Arial"/>
                <a:cs typeface="Arial"/>
              </a:rPr>
              <a:t>many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activities,</a:t>
            </a:r>
            <a:r>
              <a:rPr sz="2200" spc="24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each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10" dirty="0" smtClean="0">
                <a:latin typeface="Arial"/>
                <a:cs typeface="Arial"/>
              </a:rPr>
              <a:t>involving </a:t>
            </a:r>
            <a:r>
              <a:rPr sz="2200" spc="-5" dirty="0">
                <a:latin typeface="Arial"/>
                <a:cs typeface="Arial"/>
              </a:rPr>
              <a:t>a great deal of </a:t>
            </a:r>
            <a:r>
              <a:rPr sz="2200" spc="-10" dirty="0">
                <a:latin typeface="Arial"/>
                <a:cs typeface="Arial"/>
              </a:rPr>
              <a:t>variation </a:t>
            </a:r>
            <a:r>
              <a:rPr sz="2200" spc="-5" dirty="0">
                <a:latin typeface="Arial"/>
                <a:cs typeface="Arial"/>
              </a:rPr>
              <a:t>in and of</a:t>
            </a:r>
            <a:r>
              <a:rPr sz="2200" spc="21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itself</a:t>
            </a:r>
            <a:endParaRPr sz="2200" dirty="0">
              <a:latin typeface="Arial"/>
              <a:cs typeface="Arial"/>
            </a:endParaRPr>
          </a:p>
          <a:p>
            <a:pPr marL="355600" marR="190500" indent="-342900">
              <a:lnSpc>
                <a:spcPct val="100000"/>
              </a:lnSpc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is </a:t>
            </a:r>
            <a:r>
              <a:rPr sz="2200" spc="-5" dirty="0" smtClean="0">
                <a:latin typeface="Arial"/>
                <a:cs typeface="Arial"/>
              </a:rPr>
              <a:t>range</a:t>
            </a:r>
            <a:r>
              <a:rPr lang="en-US" sz="2200" spc="-5" dirty="0" smtClean="0">
                <a:latin typeface="Arial"/>
                <a:cs typeface="Arial"/>
              </a:rPr>
              <a:t>s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from processing requests </a:t>
            </a:r>
            <a:r>
              <a:rPr sz="2200" spc="-10" dirty="0">
                <a:latin typeface="Arial"/>
                <a:cs typeface="Arial"/>
              </a:rPr>
              <a:t>for </a:t>
            </a:r>
            <a:r>
              <a:rPr sz="2200" spc="-5" dirty="0">
                <a:latin typeface="Arial"/>
                <a:cs typeface="Arial"/>
              </a:rPr>
              <a:t>quotations, sales orders to pricing, credit  and product</a:t>
            </a:r>
            <a:r>
              <a:rPr sz="2200" spc="-45" dirty="0">
                <a:latin typeface="Arial"/>
                <a:cs typeface="Arial"/>
              </a:rPr>
              <a:t> </a:t>
            </a:r>
            <a:r>
              <a:rPr sz="2200" spc="-15" dirty="0" smtClean="0">
                <a:latin typeface="Arial"/>
                <a:cs typeface="Arial"/>
              </a:rPr>
              <a:t>availability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209800" y="3124200"/>
            <a:ext cx="4191000" cy="3124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Copy Control – Item</a:t>
            </a:r>
            <a:r>
              <a:rPr spc="-95" dirty="0"/>
              <a:t> </a:t>
            </a:r>
            <a:r>
              <a:rPr dirty="0"/>
              <a:t>Leve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90821" y="1371600"/>
            <a:ext cx="8424545" cy="5194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b="1" spc="-5" dirty="0">
                <a:latin typeface="Arial"/>
                <a:cs typeface="Arial"/>
              </a:rPr>
              <a:t>Item </a:t>
            </a:r>
            <a:r>
              <a:rPr sz="1800" b="1" spc="-10" dirty="0">
                <a:latin typeface="Arial"/>
                <a:cs typeface="Arial"/>
              </a:rPr>
              <a:t>Level </a:t>
            </a:r>
            <a:r>
              <a:rPr sz="1800" b="1" dirty="0">
                <a:latin typeface="Arial"/>
                <a:cs typeface="Arial"/>
              </a:rPr>
              <a:t>: </a:t>
            </a:r>
            <a:r>
              <a:rPr sz="1600" b="1" spc="-10" dirty="0">
                <a:latin typeface="Arial"/>
                <a:cs typeface="Arial"/>
              </a:rPr>
              <a:t>Copying </a:t>
            </a:r>
            <a:r>
              <a:rPr sz="1600" b="1" spc="-5" dirty="0">
                <a:latin typeface="Arial"/>
                <a:cs typeface="Arial"/>
              </a:rPr>
              <a:t>requirement 301 checks,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instance, </a:t>
            </a:r>
            <a:r>
              <a:rPr sz="1600" b="1" dirty="0">
                <a:latin typeface="Arial"/>
                <a:cs typeface="Arial"/>
              </a:rPr>
              <a:t>whether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item that is to  be used as a copy has a reas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rejection or status</a:t>
            </a:r>
            <a:r>
              <a:rPr sz="1600" b="1" spc="1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mpleted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0821" y="2030093"/>
            <a:ext cx="7543800" cy="42656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90821" y="2001264"/>
            <a:ext cx="7572375" cy="4294505"/>
          </a:xfrm>
          <a:custGeom>
            <a:avLst/>
            <a:gdLst/>
            <a:ahLst/>
            <a:cxnLst/>
            <a:rect l="l" t="t" r="r" b="b"/>
            <a:pathLst>
              <a:path w="7572375" h="4294505">
                <a:moveTo>
                  <a:pt x="0" y="4294251"/>
                </a:moveTo>
                <a:lnTo>
                  <a:pt x="7572375" y="4294251"/>
                </a:lnTo>
                <a:lnTo>
                  <a:pt x="7572375" y="0"/>
                </a:lnTo>
                <a:lnTo>
                  <a:pt x="0" y="0"/>
                </a:lnTo>
                <a:lnTo>
                  <a:pt x="0" y="429425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5115" y="152400"/>
            <a:ext cx="8686165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Copy</a:t>
            </a:r>
            <a:r>
              <a:rPr sz="4000" spc="-5" dirty="0"/>
              <a:t> </a:t>
            </a:r>
            <a:r>
              <a:rPr spc="-5" dirty="0"/>
              <a:t>Control – Schedule Line</a:t>
            </a:r>
            <a:r>
              <a:rPr dirty="0"/>
              <a:t> </a:t>
            </a:r>
            <a:r>
              <a:rPr spc="-5" dirty="0"/>
              <a:t>Level</a:t>
            </a:r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688339" y="1322578"/>
            <a:ext cx="8302941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chedule </a:t>
            </a:r>
            <a:r>
              <a:rPr sz="2200" dirty="0">
                <a:latin typeface="Arial"/>
                <a:cs typeface="Arial"/>
              </a:rPr>
              <a:t>Line </a:t>
            </a:r>
            <a:r>
              <a:rPr sz="2200" spc="-10" dirty="0">
                <a:latin typeface="Arial"/>
                <a:cs typeface="Arial"/>
              </a:rPr>
              <a:t>Level </a:t>
            </a:r>
            <a:r>
              <a:rPr sz="2200" dirty="0">
                <a:latin typeface="Arial"/>
                <a:cs typeface="Arial"/>
              </a:rPr>
              <a:t>: </a:t>
            </a:r>
            <a:r>
              <a:rPr sz="2200" spc="-10" dirty="0">
                <a:latin typeface="Arial"/>
                <a:cs typeface="Arial"/>
              </a:rPr>
              <a:t>Copying </a:t>
            </a:r>
            <a:r>
              <a:rPr sz="2200" spc="-5" dirty="0">
                <a:latin typeface="Arial"/>
                <a:cs typeface="Arial"/>
              </a:rPr>
              <a:t>requirement 501 ensures that only schedule</a:t>
            </a:r>
            <a:r>
              <a:rPr sz="2200" spc="18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lines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5" dirty="0" smtClean="0">
                <a:latin typeface="Arial"/>
                <a:cs typeface="Arial"/>
              </a:rPr>
              <a:t>with </a:t>
            </a:r>
            <a:r>
              <a:rPr sz="2200" spc="-5" dirty="0">
                <a:latin typeface="Arial"/>
                <a:cs typeface="Arial"/>
              </a:rPr>
              <a:t>open quantity greater than zero are</a:t>
            </a:r>
            <a:r>
              <a:rPr sz="2200" spc="5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copied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33397" y="2438400"/>
            <a:ext cx="8229600" cy="37892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33397" y="2438400"/>
            <a:ext cx="8258175" cy="3818254"/>
          </a:xfrm>
          <a:custGeom>
            <a:avLst/>
            <a:gdLst/>
            <a:ahLst/>
            <a:cxnLst/>
            <a:rect l="l" t="t" r="r" b="b"/>
            <a:pathLst>
              <a:path w="8258175" h="3818254">
                <a:moveTo>
                  <a:pt x="0" y="3817874"/>
                </a:moveTo>
                <a:lnTo>
                  <a:pt x="8258175" y="3817874"/>
                </a:lnTo>
                <a:lnTo>
                  <a:pt x="8258175" y="0"/>
                </a:lnTo>
                <a:lnTo>
                  <a:pt x="0" y="0"/>
                </a:lnTo>
                <a:lnTo>
                  <a:pt x="0" y="3817874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59158947"/>
              </p:ext>
            </p:extLst>
          </p:nvPr>
        </p:nvGraphicFramePr>
        <p:xfrm>
          <a:off x="381000" y="1905000"/>
          <a:ext cx="8458200" cy="37632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01923"/>
                <a:gridCol w="6956277"/>
              </a:tblGrid>
              <a:tr h="36830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VOV8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Define Sales Document</a:t>
                      </a:r>
                      <a:r>
                        <a:rPr sz="22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45" dirty="0">
                          <a:latin typeface="Arial"/>
                          <a:cs typeface="Arial"/>
                        </a:rPr>
                        <a:t>Type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6830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VOV7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Define Item</a:t>
                      </a:r>
                      <a:r>
                        <a:rPr sz="22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Categories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44424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VOV6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Define Schedule Line</a:t>
                      </a:r>
                      <a:r>
                        <a:rPr sz="22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Categories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4455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2200" b="1" spc="-45" dirty="0">
                          <a:latin typeface="Arial"/>
                          <a:cs typeface="Arial"/>
                        </a:rPr>
                        <a:t>VTAA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2200" b="1" spc="-10" dirty="0">
                          <a:latin typeface="Arial"/>
                          <a:cs typeface="Arial"/>
                        </a:rPr>
                        <a:t>Copy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Control from Sales Document to Sales</a:t>
                      </a:r>
                      <a:r>
                        <a:rPr sz="2200" b="1" spc="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Document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4455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VTLA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1" spc="-10" dirty="0">
                          <a:latin typeface="Arial"/>
                          <a:cs typeface="Arial"/>
                        </a:rPr>
                        <a:t>Copy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Control from Sales Document to </a:t>
                      </a:r>
                      <a:r>
                        <a:rPr sz="2200" b="1" spc="-10" dirty="0">
                          <a:latin typeface="Arial"/>
                          <a:cs typeface="Arial"/>
                        </a:rPr>
                        <a:t>Delivery</a:t>
                      </a:r>
                      <a:r>
                        <a:rPr sz="2200" b="1" spc="1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Document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3528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1" spc="-30" dirty="0">
                          <a:latin typeface="Arial"/>
                          <a:cs typeface="Arial"/>
                        </a:rPr>
                        <a:t>VTFA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1" spc="-10" dirty="0">
                          <a:latin typeface="Arial"/>
                          <a:cs typeface="Arial"/>
                        </a:rPr>
                        <a:t>Copy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Control from Sales Document to Billing</a:t>
                      </a:r>
                      <a:r>
                        <a:rPr sz="2200" b="1" spc="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Document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  <a:tr h="33528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VTFL</a:t>
                      </a:r>
                      <a:endParaRPr sz="22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1" spc="-5" dirty="0">
                          <a:latin typeface="Arial"/>
                          <a:cs typeface="Arial"/>
                        </a:rPr>
                        <a:t>Copy Control from Delivery Document to Billing</a:t>
                      </a:r>
                      <a:r>
                        <a:rPr sz="2200" b="1" spc="1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spc="-5" dirty="0">
                          <a:latin typeface="Arial"/>
                          <a:cs typeface="Arial"/>
                        </a:rPr>
                        <a:t>Document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5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dirty="0" smtClean="0"/>
              <a:t>Transaction Codes</a:t>
            </a:r>
            <a:endParaRPr dirty="0"/>
          </a:p>
          <a:p>
            <a:pPr marL="269875" marR="5080">
              <a:lnSpc>
                <a:spcPct val="80000"/>
              </a:lnSpc>
              <a:spcBef>
                <a:spcPts val="950"/>
              </a:spcBef>
            </a:pPr>
            <a:endParaRPr sz="1800" dirty="0"/>
          </a:p>
        </p:txBody>
      </p:sp>
    </p:spTree>
    <p:extLst>
      <p:ext uri="{BB962C8B-B14F-4D97-AF65-F5344CB8AC3E}">
        <p14:creationId xmlns="" xmlns:p14="http://schemas.microsoft.com/office/powerpoint/2010/main" val="245658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18213" y="1254579"/>
            <a:ext cx="7395054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se Icons appear on most Sales</a:t>
            </a:r>
            <a:r>
              <a:rPr sz="2200" spc="1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Documents</a:t>
            </a:r>
          </a:p>
        </p:txBody>
      </p:sp>
      <p:sp>
        <p:nvSpPr>
          <p:cNvPr id="3" name="object 3"/>
          <p:cNvSpPr/>
          <p:nvPr/>
        </p:nvSpPr>
        <p:spPr>
          <a:xfrm>
            <a:off x="387350" y="2284412"/>
            <a:ext cx="495300" cy="5095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79412" y="2862262"/>
            <a:ext cx="503237" cy="531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1000" y="3419475"/>
            <a:ext cx="477837" cy="5524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03225" y="4029011"/>
            <a:ext cx="455612" cy="5191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52400" y="4735576"/>
            <a:ext cx="1143000" cy="5334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417951" y="1758950"/>
            <a:ext cx="514350" cy="55245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449701" y="2411348"/>
            <a:ext cx="447675" cy="51435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463925" y="3001898"/>
            <a:ext cx="504825" cy="5048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481451" y="3571875"/>
            <a:ext cx="466725" cy="47625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139444" y="1790953"/>
            <a:ext cx="2005330" cy="1383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Status</a:t>
            </a:r>
            <a:r>
              <a:rPr sz="1800" spc="-125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Overview</a:t>
            </a:r>
            <a:endParaRPr sz="1800">
              <a:latin typeface="Times New Roman"/>
              <a:cs typeface="Times New Roman"/>
            </a:endParaRPr>
          </a:p>
          <a:p>
            <a:pPr marL="12700" marR="734060">
              <a:lnSpc>
                <a:spcPct val="100000"/>
              </a:lnSpc>
              <a:spcBef>
                <a:spcPts val="1080"/>
              </a:spcBef>
            </a:pPr>
            <a:r>
              <a:rPr sz="1800" dirty="0">
                <a:latin typeface="Times New Roman"/>
                <a:cs typeface="Times New Roman"/>
              </a:rPr>
              <a:t>Display</a:t>
            </a:r>
            <a:r>
              <a:rPr sz="1800" spc="-11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Sales  </a:t>
            </a:r>
            <a:r>
              <a:rPr sz="1800" spc="-5" dirty="0">
                <a:latin typeface="Times New Roman"/>
                <a:cs typeface="Times New Roman"/>
              </a:rPr>
              <a:t>Summary</a:t>
            </a:r>
            <a:endParaRPr sz="18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</a:pPr>
            <a:r>
              <a:rPr sz="1800" dirty="0">
                <a:latin typeface="Times New Roman"/>
                <a:cs typeface="Times New Roman"/>
              </a:rPr>
              <a:t>Display </a:t>
            </a:r>
            <a:r>
              <a:rPr sz="1800" spc="-5" dirty="0">
                <a:latin typeface="Times New Roman"/>
                <a:cs typeface="Times New Roman"/>
              </a:rPr>
              <a:t>Sold-to</a:t>
            </a:r>
            <a:r>
              <a:rPr sz="1800" spc="-7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Party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139444" y="3482700"/>
            <a:ext cx="1910714" cy="835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0100"/>
              </a:lnSpc>
            </a:pPr>
            <a:r>
              <a:rPr sz="1800" dirty="0">
                <a:latin typeface="Times New Roman"/>
                <a:cs typeface="Times New Roman"/>
              </a:rPr>
              <a:t>Header Output</a:t>
            </a:r>
            <a:r>
              <a:rPr sz="1800" spc="-145" dirty="0">
                <a:latin typeface="Times New Roman"/>
                <a:cs typeface="Times New Roman"/>
              </a:rPr>
              <a:t> </a:t>
            </a:r>
            <a:r>
              <a:rPr sz="1800" spc="-30" dirty="0">
                <a:latin typeface="Times New Roman"/>
                <a:cs typeface="Times New Roman"/>
              </a:rPr>
              <a:t>View  </a:t>
            </a:r>
            <a:r>
              <a:rPr sz="1800" dirty="0">
                <a:latin typeface="Times New Roman"/>
                <a:cs typeface="Times New Roman"/>
              </a:rPr>
              <a:t>Reject</a:t>
            </a:r>
            <a:r>
              <a:rPr sz="1800" spc="-9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Document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422908" y="4854829"/>
            <a:ext cx="1599565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List Sales</a:t>
            </a:r>
            <a:r>
              <a:rPr sz="1800" spc="-9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Orders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298950" y="1864105"/>
            <a:ext cx="1828164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Display Item</a:t>
            </a:r>
            <a:r>
              <a:rPr sz="1800" spc="-114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Detail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298950" y="2549905"/>
            <a:ext cx="1097280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Creat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Item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298950" y="3144646"/>
            <a:ext cx="1097280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Delet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Item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298950" y="3739007"/>
            <a:ext cx="2272030" cy="697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Item to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top</a:t>
            </a:r>
            <a:endParaRPr sz="18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</a:pPr>
            <a:r>
              <a:rPr sz="1800" dirty="0">
                <a:latin typeface="Times New Roman"/>
                <a:cs typeface="Times New Roman"/>
              </a:rPr>
              <a:t>Display </a:t>
            </a:r>
            <a:r>
              <a:rPr sz="1800" spc="-5" dirty="0">
                <a:latin typeface="Times New Roman"/>
                <a:cs typeface="Times New Roman"/>
              </a:rPr>
              <a:t>Document</a:t>
            </a:r>
            <a:r>
              <a:rPr sz="1800" spc="-6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Flow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298950" y="4745101"/>
            <a:ext cx="2206625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Check Item</a:t>
            </a:r>
            <a:r>
              <a:rPr sz="1800" spc="-22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Times New Roman"/>
                <a:cs typeface="Times New Roman"/>
              </a:rPr>
              <a:t>Availability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494151" y="4103623"/>
            <a:ext cx="439737" cy="4826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470275" y="4684648"/>
            <a:ext cx="415925" cy="4572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11162" y="1763712"/>
            <a:ext cx="458787" cy="45878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69050" y="1797050"/>
            <a:ext cx="471487" cy="41592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7029957" y="1790953"/>
            <a:ext cx="1083310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Page</a:t>
            </a:r>
            <a:r>
              <a:rPr sz="1800" spc="-11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Down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029957" y="2385695"/>
            <a:ext cx="1210945" cy="1657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New</a:t>
            </a:r>
            <a:r>
              <a:rPr sz="1800" spc="-9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imes New Roman"/>
                <a:cs typeface="Times New Roman"/>
              </a:rPr>
              <a:t>Session</a:t>
            </a:r>
            <a:endParaRPr sz="1800">
              <a:latin typeface="Times New Roman"/>
              <a:cs typeface="Times New Roman"/>
            </a:endParaRPr>
          </a:p>
          <a:p>
            <a:pPr marL="12700" marR="111760">
              <a:lnSpc>
                <a:spcPct val="100000"/>
              </a:lnSpc>
              <a:spcBef>
                <a:spcPts val="1080"/>
              </a:spcBef>
            </a:pPr>
            <a:r>
              <a:rPr sz="1800" spc="-30" dirty="0">
                <a:latin typeface="Times New Roman"/>
                <a:cs typeface="Times New Roman"/>
              </a:rPr>
              <a:t>View  </a:t>
            </a:r>
            <a:r>
              <a:rPr sz="1800" spc="-140" dirty="0">
                <a:latin typeface="Times New Roman"/>
                <a:cs typeface="Times New Roman"/>
              </a:rPr>
              <a:t>A</a:t>
            </a:r>
            <a:r>
              <a:rPr sz="1800" dirty="0">
                <a:latin typeface="Times New Roman"/>
                <a:cs typeface="Times New Roman"/>
              </a:rPr>
              <a:t>va</a:t>
            </a:r>
            <a:r>
              <a:rPr sz="1800" spc="5" dirty="0">
                <a:latin typeface="Times New Roman"/>
                <a:cs typeface="Times New Roman"/>
              </a:rPr>
              <a:t>i</a:t>
            </a:r>
            <a:r>
              <a:rPr sz="1800" dirty="0">
                <a:latin typeface="Times New Roman"/>
                <a:cs typeface="Times New Roman"/>
              </a:rPr>
              <a:t>l</a:t>
            </a:r>
            <a:r>
              <a:rPr sz="1800" spc="5" dirty="0">
                <a:latin typeface="Times New Roman"/>
                <a:cs typeface="Times New Roman"/>
              </a:rPr>
              <a:t>a</a:t>
            </a:r>
            <a:r>
              <a:rPr sz="1800" dirty="0">
                <a:latin typeface="Times New Roman"/>
                <a:cs typeface="Times New Roman"/>
              </a:rPr>
              <a:t>bi</a:t>
            </a:r>
            <a:r>
              <a:rPr sz="1800" spc="5" dirty="0">
                <a:latin typeface="Times New Roman"/>
                <a:cs typeface="Times New Roman"/>
              </a:rPr>
              <a:t>l</a:t>
            </a:r>
            <a:r>
              <a:rPr sz="1800" dirty="0">
                <a:latin typeface="Times New Roman"/>
                <a:cs typeface="Times New Roman"/>
              </a:rPr>
              <a:t>i</a:t>
            </a:r>
            <a:r>
              <a:rPr sz="1800" spc="5" dirty="0">
                <a:latin typeface="Times New Roman"/>
                <a:cs typeface="Times New Roman"/>
              </a:rPr>
              <a:t>t</a:t>
            </a:r>
            <a:r>
              <a:rPr sz="1800" dirty="0">
                <a:latin typeface="Times New Roman"/>
                <a:cs typeface="Times New Roman"/>
              </a:rPr>
              <a:t>y</a:t>
            </a:r>
            <a:endParaRPr sz="18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</a:pPr>
            <a:r>
              <a:rPr sz="1800" dirty="0">
                <a:latin typeface="Times New Roman"/>
                <a:cs typeface="Times New Roman"/>
              </a:rPr>
              <a:t>Item</a:t>
            </a:r>
            <a:endParaRPr sz="18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Conditions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324600" y="2338323"/>
            <a:ext cx="504825" cy="37147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353175" y="2887662"/>
            <a:ext cx="481012" cy="481012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330950" y="3529012"/>
            <a:ext cx="427037" cy="490537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spc="-20" dirty="0"/>
              <a:t>Tips </a:t>
            </a:r>
            <a:r>
              <a:rPr dirty="0"/>
              <a:t>and</a:t>
            </a:r>
            <a:r>
              <a:rPr spc="-60" dirty="0"/>
              <a:t> </a:t>
            </a:r>
            <a:r>
              <a:rPr spc="-40" dirty="0"/>
              <a:t>Tricks</a:t>
            </a:r>
          </a:p>
        </p:txBody>
      </p:sp>
      <p:sp>
        <p:nvSpPr>
          <p:cNvPr id="30" name="object 30"/>
          <p:cNvSpPr/>
          <p:nvPr/>
        </p:nvSpPr>
        <p:spPr>
          <a:xfrm>
            <a:off x="457200" y="5516562"/>
            <a:ext cx="457200" cy="43815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1145844" y="5536691"/>
            <a:ext cx="2068830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Display Header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Detail</a:t>
            </a:r>
            <a:endParaRPr sz="1800">
              <a:latin typeface="Times New Roman"/>
              <a:cs typeface="Times New Roman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3505200" y="5362575"/>
            <a:ext cx="457200" cy="43656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4346575" y="5398617"/>
            <a:ext cx="1427480" cy="286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Times New Roman"/>
                <a:cs typeface="Times New Roman"/>
              </a:rPr>
              <a:t>Schedule</a:t>
            </a:r>
            <a:r>
              <a:rPr sz="1800" spc="-120" dirty="0">
                <a:latin typeface="Times New Roman"/>
                <a:cs typeface="Times New Roman"/>
              </a:rPr>
              <a:t> </a:t>
            </a:r>
            <a:r>
              <a:rPr sz="1800" dirty="0">
                <a:latin typeface="Times New Roman"/>
                <a:cs typeface="Times New Roman"/>
              </a:rPr>
              <a:t>Lines</a:t>
            </a:r>
            <a:endParaRPr sz="1800">
              <a:latin typeface="Times New Roman"/>
              <a:cs typeface="Times New Roma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Additional</a:t>
            </a:r>
            <a:r>
              <a:rPr spc="-70" dirty="0"/>
              <a:t> </a:t>
            </a:r>
            <a:r>
              <a:rPr dirty="0"/>
              <a:t>Info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31482" y="1524000"/>
            <a:ext cx="8281034" cy="3724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ales Orders can be entered </a:t>
            </a:r>
            <a:r>
              <a:rPr sz="2200" dirty="0">
                <a:latin typeface="Arial"/>
                <a:cs typeface="Arial"/>
              </a:rPr>
              <a:t>without </a:t>
            </a:r>
            <a:r>
              <a:rPr sz="2200" spc="-10" dirty="0">
                <a:latin typeface="Arial"/>
                <a:cs typeface="Arial"/>
              </a:rPr>
              <a:t>specifying the </a:t>
            </a:r>
            <a:r>
              <a:rPr sz="2200" spc="-5" dirty="0">
                <a:latin typeface="Arial"/>
                <a:cs typeface="Arial"/>
              </a:rPr>
              <a:t>sales area, </a:t>
            </a:r>
            <a:r>
              <a:rPr sz="2200" spc="5" dirty="0">
                <a:latin typeface="Arial"/>
                <a:cs typeface="Arial"/>
              </a:rPr>
              <a:t>which </a:t>
            </a:r>
            <a:r>
              <a:rPr sz="2200" spc="-5" dirty="0">
                <a:latin typeface="Arial"/>
                <a:cs typeface="Arial"/>
              </a:rPr>
              <a:t>is</a:t>
            </a:r>
            <a:r>
              <a:rPr sz="2200" spc="22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automatically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determined </a:t>
            </a:r>
            <a:r>
              <a:rPr sz="2200" spc="-5" dirty="0">
                <a:latin typeface="Arial"/>
                <a:cs typeface="Arial"/>
              </a:rPr>
              <a:t>from the customer master</a:t>
            </a:r>
            <a:r>
              <a:rPr sz="2200" spc="8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record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2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old </a:t>
            </a:r>
            <a:r>
              <a:rPr sz="2200" spc="-10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party can be created directly in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sales order</a:t>
            </a:r>
            <a:r>
              <a:rPr sz="2200" spc="204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transaction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2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7747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It is also possible to enter a sales order </a:t>
            </a:r>
            <a:r>
              <a:rPr sz="2200" spc="5" dirty="0">
                <a:latin typeface="Arial"/>
                <a:cs typeface="Arial"/>
              </a:rPr>
              <a:t>with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ship-to </a:t>
            </a:r>
            <a:r>
              <a:rPr sz="2200" spc="-30" dirty="0">
                <a:latin typeface="Arial"/>
                <a:cs typeface="Arial"/>
              </a:rPr>
              <a:t>party, </a:t>
            </a:r>
            <a:r>
              <a:rPr sz="2200" spc="-5" dirty="0">
                <a:latin typeface="Arial"/>
                <a:cs typeface="Arial"/>
              </a:rPr>
              <a:t>as the </a:t>
            </a:r>
            <a:r>
              <a:rPr sz="2200" spc="-10" dirty="0">
                <a:latin typeface="Arial"/>
                <a:cs typeface="Arial"/>
              </a:rPr>
              <a:t>system </a:t>
            </a:r>
            <a:r>
              <a:rPr sz="2200" spc="-5" dirty="0">
                <a:latin typeface="Arial"/>
                <a:cs typeface="Arial"/>
              </a:rPr>
              <a:t>can use  this to search and list all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potential sold-to</a:t>
            </a:r>
            <a:r>
              <a:rPr sz="2200" spc="20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parties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2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295400"/>
            <a:ext cx="7848600" cy="5416868"/>
          </a:xfrm>
        </p:spPr>
        <p:txBody>
          <a:bodyPr/>
          <a:lstStyle/>
          <a:p>
            <a:pPr marL="355600" marR="312420" indent="-342900" algn="l" rtl="0">
              <a:spcBef>
                <a:spcPts val="5"/>
              </a:spcBef>
            </a:pPr>
            <a:r>
              <a:rPr lang="en-US" b="0" kern="1200" spc="-5" dirty="0"/>
              <a:t>You can create default sold-to party by setting the indicator on the sold-to party in  the customer master, or by following Extras -&gt; Account group info -&gt;Customer Types.  and selecting Default SP</a:t>
            </a:r>
          </a:p>
          <a:p>
            <a:pPr indent="-342900" algn="l" rtl="0">
              <a:spcBef>
                <a:spcPts val="20"/>
              </a:spcBef>
            </a:pPr>
            <a:endParaRPr lang="en-US" b="0" kern="1200" spc="-5" dirty="0"/>
          </a:p>
          <a:p>
            <a:pPr marL="355600" marR="66040" indent="-342900" algn="l" rtl="0"/>
            <a:r>
              <a:rPr lang="en-US" b="0" kern="1200" spc="-5" dirty="0"/>
              <a:t>When the sold to party is changed, the changed value runs through the same checks  as the initial entry. As a result , a variety of data </a:t>
            </a:r>
            <a:r>
              <a:rPr lang="en-US" b="0" kern="1200" spc="-5" dirty="0" smtClean="0"/>
              <a:t>is </a:t>
            </a:r>
            <a:r>
              <a:rPr lang="en-US" b="0" kern="1200" spc="-5" dirty="0" err="1" smtClean="0"/>
              <a:t>redetermined</a:t>
            </a:r>
            <a:r>
              <a:rPr lang="en-US" b="0" kern="1200" spc="-5" dirty="0"/>
              <a:t>, such as customer  master, customer material info record, texts, prices, output, plant and shipping point  etc. There would be no changes if there are status – relevant preceding document or  subsequent </a:t>
            </a:r>
            <a:r>
              <a:rPr lang="en-US" b="0" kern="1200" spc="-5" dirty="0" smtClean="0"/>
              <a:t>document</a:t>
            </a:r>
            <a:endParaRPr lang="en-US" b="0" kern="1200" spc="-5" dirty="0"/>
          </a:p>
          <a:p>
            <a:pPr indent="-342900" algn="l" rtl="0">
              <a:spcBef>
                <a:spcPts val="20"/>
              </a:spcBef>
            </a:pPr>
            <a:endParaRPr lang="en-US" b="0" kern="1200" spc="-5" dirty="0"/>
          </a:p>
          <a:p>
            <a:pPr marL="355600" marR="474980" indent="-342900" algn="l" rtl="0"/>
            <a:r>
              <a:rPr lang="en-US" b="0" kern="1200" spc="-5" dirty="0"/>
              <a:t>You can create your own data transfer routines and copy requirements using the  transaction code </a:t>
            </a:r>
            <a:r>
              <a:rPr lang="en-US" b="0" kern="1200" spc="-5" dirty="0" smtClean="0"/>
              <a:t>VOFM</a:t>
            </a:r>
            <a:endParaRPr lang="en-US" b="0" kern="1200" spc="-5" dirty="0"/>
          </a:p>
          <a:p>
            <a:pPr indent="-342900" algn="l" rtl="0"/>
            <a:endParaRPr lang="en-US" b="0" kern="1200" spc="-5" dirty="0"/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Additional</a:t>
            </a:r>
            <a:r>
              <a:rPr spc="-70" dirty="0"/>
              <a:t> </a:t>
            </a:r>
            <a:r>
              <a:rPr dirty="0"/>
              <a:t>Info</a:t>
            </a:r>
          </a:p>
        </p:txBody>
      </p:sp>
    </p:spTree>
    <p:extLst>
      <p:ext uri="{BB962C8B-B14F-4D97-AF65-F5344CB8AC3E}">
        <p14:creationId xmlns="" xmlns:p14="http://schemas.microsoft.com/office/powerpoint/2010/main" val="1408840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rpose(Continued…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4467890"/>
          </a:xfrm>
        </p:spPr>
        <p:txBody>
          <a:bodyPr/>
          <a:lstStyle/>
          <a:p>
            <a:pPr marL="355600" indent="-342900">
              <a:spcBef>
                <a:spcPts val="960"/>
              </a:spcBef>
            </a:pPr>
            <a:r>
              <a:rPr lang="en-US" b="0" spc="-10" dirty="0"/>
              <a:t>The employees </a:t>
            </a:r>
            <a:r>
              <a:rPr lang="en-US" b="0" spc="-5" dirty="0"/>
              <a:t>in a sales department are </a:t>
            </a:r>
            <a:r>
              <a:rPr lang="en-US" b="0" spc="-10" dirty="0"/>
              <a:t>involved </a:t>
            </a:r>
            <a:r>
              <a:rPr lang="en-US" b="0" spc="-5" dirty="0"/>
              <a:t>in many activities such</a:t>
            </a:r>
            <a:r>
              <a:rPr lang="en-US" b="0" spc="340" dirty="0"/>
              <a:t> </a:t>
            </a:r>
            <a:r>
              <a:rPr lang="en-US" b="0" spc="-5" dirty="0"/>
              <a:t>as</a:t>
            </a: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Maintain basic information about the customers, products and services that they consume</a:t>
            </a:r>
            <a:endParaRPr lang="en-US" sz="2200" dirty="0">
              <a:latin typeface="Arial"/>
              <a:cs typeface="Arial"/>
            </a:endParaRP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Interacting with customers</a:t>
            </a: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Answer to their queries</a:t>
            </a: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Provide them estimates</a:t>
            </a: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Give updates of availability of products</a:t>
            </a: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Offer appropriate products based on the buying pattern of the customer</a:t>
            </a:r>
          </a:p>
          <a:p>
            <a:pPr marL="812800" lvl="1" indent="-34290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Perform order entry in the syste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49342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161" y="228600"/>
            <a:ext cx="8799677" cy="492443"/>
          </a:xfrm>
        </p:spPr>
        <p:txBody>
          <a:bodyPr/>
          <a:lstStyle/>
          <a:p>
            <a:r>
              <a:rPr lang="en-US" dirty="0" smtClean="0"/>
              <a:t>U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219200"/>
            <a:ext cx="8438438" cy="6473567"/>
          </a:xfrm>
        </p:spPr>
        <p:txBody>
          <a:bodyPr/>
          <a:lstStyle/>
          <a:p>
            <a:pPr marL="355600" indent="-342900">
              <a:lnSpc>
                <a:spcPct val="100000"/>
              </a:lnSpc>
              <a:spcBef>
                <a:spcPts val="960"/>
              </a:spcBef>
            </a:pPr>
            <a:r>
              <a:rPr lang="en-US" b="0" spc="-10" dirty="0"/>
              <a:t>Inquiry and quotation can be used to: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54685" algn="l"/>
              </a:tabLst>
            </a:pPr>
            <a:r>
              <a:rPr lang="en-US" spc="-5" dirty="0">
                <a:latin typeface="Arial"/>
                <a:cs typeface="Arial"/>
              </a:rPr>
              <a:t>Track lost sales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54685" algn="l"/>
              </a:tabLst>
            </a:pPr>
            <a:r>
              <a:rPr lang="en-US" spc="-5" dirty="0">
                <a:latin typeface="Arial"/>
                <a:cs typeface="Arial"/>
              </a:rPr>
              <a:t>Record pre-sales data to help negotiate contract</a:t>
            </a:r>
          </a:p>
          <a:p>
            <a:pPr marL="812800" marR="508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54685" algn="l"/>
              </a:tabLst>
            </a:pPr>
            <a:r>
              <a:rPr lang="en-US" spc="-5" dirty="0">
                <a:latin typeface="Arial"/>
                <a:cs typeface="Arial"/>
              </a:rPr>
              <a:t>Sell goods and services to large  organizations that require  documentation of the entire process</a:t>
            </a:r>
          </a:p>
          <a:p>
            <a:pPr marL="812800" marR="92075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54685" algn="l"/>
              </a:tabLst>
            </a:pPr>
            <a:r>
              <a:rPr lang="en-US" spc="-5" dirty="0">
                <a:latin typeface="Arial"/>
                <a:cs typeface="Arial"/>
              </a:rPr>
              <a:t>Serve as a source document that is  later reference for the information</a:t>
            </a:r>
          </a:p>
          <a:p>
            <a:pPr marL="355600" lvl="1" indent="-342900"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During </a:t>
            </a: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the sales order  processing system checks  automatically whether the  material is available for the </a:t>
            </a: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requested </a:t>
            </a: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delivery date </a:t>
            </a: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&amp; </a:t>
            </a: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if </a:t>
            </a: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necessary</a:t>
            </a: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, transfers the </a:t>
            </a: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requirements </a:t>
            </a: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to materials  planning, Shipping deadlines </a:t>
            </a: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&amp; </a:t>
            </a: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shipping points are  determined in delivery  </a:t>
            </a:r>
            <a:r>
              <a:rPr lang="en-US" sz="2200" spc="-10" dirty="0" smtClean="0">
                <a:solidFill>
                  <a:schemeClr val="tx1"/>
                </a:solidFill>
                <a:latin typeface="Arial"/>
                <a:cs typeface="Arial"/>
              </a:rPr>
              <a:t>scheduling</a:t>
            </a:r>
          </a:p>
          <a:p>
            <a:pPr marL="355600" lvl="1" indent="-342900"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solidFill>
                  <a:schemeClr val="tx1"/>
                </a:solidFill>
                <a:latin typeface="Arial"/>
                <a:cs typeface="Arial"/>
              </a:rPr>
              <a:t>Sales documents automatically  proposes data from the relevant  material master records, such as data  for pricing, tax determination, and  weight and volume determination</a:t>
            </a:r>
          </a:p>
          <a:p>
            <a:pPr marL="12700" indent="0">
              <a:lnSpc>
                <a:spcPct val="100000"/>
              </a:lnSpc>
              <a:spcBef>
                <a:spcPts val="960"/>
              </a:spcBef>
              <a:buNone/>
            </a:pPr>
            <a:endParaRPr lang="en-US" b="0" spc="-10" dirty="0" smtClean="0"/>
          </a:p>
          <a:p>
            <a:pPr marL="469900" marR="92075" lvl="1">
              <a:lnSpc>
                <a:spcPct val="100000"/>
              </a:lnSpc>
              <a:spcBef>
                <a:spcPts val="960"/>
              </a:spcBef>
              <a:buClr>
                <a:srgbClr val="00B0F0"/>
              </a:buClr>
              <a:tabLst>
                <a:tab pos="654685" algn="l"/>
              </a:tabLst>
            </a:pPr>
            <a:endParaRPr lang="en-US" sz="2200" spc="-10" dirty="0">
              <a:solidFill>
                <a:schemeClr val="tx1"/>
              </a:solidFill>
              <a:latin typeface="Arial"/>
              <a:cs typeface="Arial"/>
            </a:endParaRPr>
          </a:p>
          <a:p>
            <a:endParaRPr lang="en-US" b="0" dirty="0"/>
          </a:p>
        </p:txBody>
      </p:sp>
    </p:spTree>
    <p:extLst>
      <p:ext uri="{BB962C8B-B14F-4D97-AF65-F5344CB8AC3E}">
        <p14:creationId xmlns="" xmlns:p14="http://schemas.microsoft.com/office/powerpoint/2010/main" val="1059878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845" y="248510"/>
            <a:ext cx="879967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Challeng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7200" y="1600200"/>
            <a:ext cx="7900670" cy="31752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challenges in the Sales are: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Different pricing for different customers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Delivery date confirmation with assured quantities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Online status update and Document history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Tracking of Materials and customer accounts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Updating of Information system to plan and control of sales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Monitor customer credit worthiness</a:t>
            </a:r>
          </a:p>
          <a:p>
            <a:pPr marL="812800" lvl="1" indent="-34290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spc="-5" dirty="0">
                <a:latin typeface="Arial"/>
                <a:cs typeface="Arial"/>
              </a:rPr>
              <a:t>Monitor follow up activities from sales support</a:t>
            </a:r>
          </a:p>
        </p:txBody>
      </p:sp>
      <p:sp>
        <p:nvSpPr>
          <p:cNvPr id="4" name="object 4"/>
          <p:cNvSpPr/>
          <p:nvPr/>
        </p:nvSpPr>
        <p:spPr>
          <a:xfrm>
            <a:off x="6324600" y="3886200"/>
            <a:ext cx="2819400" cy="250997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dirty="0"/>
              <a:t>SD</a:t>
            </a:r>
            <a:r>
              <a:rPr spc="-105" dirty="0"/>
              <a:t> </a:t>
            </a:r>
            <a:r>
              <a:rPr dirty="0"/>
              <a:t>Sal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83540" y="1638553"/>
            <a:ext cx="275018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SD Sales includes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0364" y="2133600"/>
            <a:ext cx="6705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Pre-Sales: Inquiries &amp; Quotations</a:t>
            </a: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Order: Sales Order, Rush Order, Cash Sales, etc.</a:t>
            </a: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>
                <a:latin typeface="Arial"/>
                <a:cs typeface="Arial"/>
              </a:rPr>
              <a:t>Outline Agreement: Contract &amp; Scheduling Agree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23935"/>
            <a:ext cx="7848600" cy="3211135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en-US" b="0" dirty="0"/>
              <a:t>Inquiry </a:t>
            </a:r>
            <a:r>
              <a:rPr lang="en-US" b="0" spc="-5" dirty="0"/>
              <a:t>– </a:t>
            </a:r>
            <a:r>
              <a:rPr lang="en-US" b="0" dirty="0"/>
              <a:t>Non-Binding</a:t>
            </a:r>
            <a:r>
              <a:rPr lang="en-US" b="0" spc="-155" dirty="0"/>
              <a:t> </a:t>
            </a:r>
            <a:r>
              <a:rPr lang="en-US" b="0" spc="-10" dirty="0"/>
              <a:t>Agreement</a:t>
            </a:r>
            <a:endParaRPr lang="en-US" b="0" dirty="0"/>
          </a:p>
          <a:p>
            <a:pPr marL="812800" marR="33020" lvl="1" indent="-342900" algn="l" rtl="0"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lang="en-US" kern="1200" spc="-5" dirty="0">
                <a:solidFill>
                  <a:schemeClr val="tx1"/>
                </a:solidFill>
                <a:latin typeface="Arial"/>
                <a:cs typeface="Arial"/>
              </a:rPr>
              <a:t>For example, a customer inquires whether we have a certain product in our  warehouse, how much it will cost, or whether the product will be available for  a certain date. The inquiry will not be sent to the customer</a:t>
            </a:r>
          </a:p>
          <a:p>
            <a:pPr marL="12700">
              <a:lnSpc>
                <a:spcPct val="100000"/>
              </a:lnSpc>
            </a:pPr>
            <a:r>
              <a:rPr lang="en-US" b="0" dirty="0"/>
              <a:t>Quotation – Binding </a:t>
            </a:r>
            <a:r>
              <a:rPr lang="en-US" b="0" spc="-10" dirty="0"/>
              <a:t>Agreement </a:t>
            </a:r>
            <a:r>
              <a:rPr lang="en-US" b="0" dirty="0"/>
              <a:t>from</a:t>
            </a:r>
            <a:r>
              <a:rPr lang="en-US" b="0" spc="-130" dirty="0"/>
              <a:t> </a:t>
            </a:r>
            <a:r>
              <a:rPr lang="en-US" b="0" dirty="0"/>
              <a:t>&lt;Client&gt;</a:t>
            </a:r>
          </a:p>
          <a:p>
            <a:pPr marL="812800" marR="33020" lvl="1" indent="-342900" algn="l" rtl="0">
              <a:lnSpc>
                <a:spcPct val="100000"/>
              </a:lnSpc>
              <a:spcBef>
                <a:spcPts val="96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696595" algn="l"/>
                <a:tab pos="697865" algn="l"/>
              </a:tabLst>
            </a:pPr>
            <a:r>
              <a:rPr lang="en-US" kern="1200" spc="-5" dirty="0">
                <a:solidFill>
                  <a:schemeClr val="tx1"/>
                </a:solidFill>
                <a:latin typeface="Arial"/>
                <a:cs typeface="Arial"/>
              </a:rPr>
              <a:t>A quotation presents the customer with a legally binding offer for delivering a  product or service within certain fixed conditions, such as the validity period  and the terms and </a:t>
            </a:r>
            <a:r>
              <a:rPr lang="en-US" kern="1200" spc="-5" dirty="0" smtClean="0">
                <a:solidFill>
                  <a:schemeClr val="tx1"/>
                </a:solidFill>
                <a:latin typeface="Arial"/>
                <a:cs typeface="Arial"/>
              </a:rPr>
              <a:t>conditions</a:t>
            </a:r>
            <a:endParaRPr lang="en-US" kern="1200" spc="-5" dirty="0">
              <a:solidFill>
                <a:schemeClr val="tx1"/>
              </a:solidFill>
              <a:latin typeface="Arial"/>
              <a:cs typeface="Arial"/>
            </a:endParaRPr>
          </a:p>
          <a:p>
            <a:pPr marL="0" marR="33020" indent="0">
              <a:lnSpc>
                <a:spcPct val="100000"/>
              </a:lnSpc>
              <a:buNone/>
            </a:pPr>
            <a:endParaRPr lang="en-US" b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324600" y="4359631"/>
            <a:ext cx="2647238" cy="1845644"/>
          </a:xfrm>
          <a:prstGeom prst="rect">
            <a:avLst/>
          </a:prstGeom>
        </p:spPr>
      </p:pic>
      <p:sp>
        <p:nvSpPr>
          <p:cNvPr id="5" name="object 3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9705">
              <a:lnSpc>
                <a:spcPct val="100000"/>
              </a:lnSpc>
            </a:pPr>
            <a:r>
              <a:rPr spc="5" dirty="0"/>
              <a:t>Pr</a:t>
            </a:r>
            <a:r>
              <a:rPr spc="-5" dirty="0"/>
              <a:t>e-</a:t>
            </a:r>
            <a:r>
              <a:rPr dirty="0"/>
              <a:t>Sales</a:t>
            </a:r>
          </a:p>
        </p:txBody>
      </p:sp>
    </p:spTree>
    <p:extLst>
      <p:ext uri="{BB962C8B-B14F-4D97-AF65-F5344CB8AC3E}">
        <p14:creationId xmlns="" xmlns:p14="http://schemas.microsoft.com/office/powerpoint/2010/main" val="2427003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8</TotalTime>
  <Words>3394</Words>
  <Application>Microsoft Office PowerPoint</Application>
  <PresentationFormat>On-screen Show (4:3)</PresentationFormat>
  <Paragraphs>471</Paragraphs>
  <Slides>4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48" baseType="lpstr">
      <vt:lpstr>Office Theme</vt:lpstr>
      <vt:lpstr>1_Office Theme</vt:lpstr>
      <vt:lpstr>think-cell Slide</vt:lpstr>
      <vt:lpstr>OTC  Sales Process</vt:lpstr>
      <vt:lpstr>Lesson Objectives</vt:lpstr>
      <vt:lpstr>Lesson Objectives</vt:lpstr>
      <vt:lpstr>Purpose</vt:lpstr>
      <vt:lpstr>Purpose(Continued…)</vt:lpstr>
      <vt:lpstr>Use</vt:lpstr>
      <vt:lpstr>Challenges</vt:lpstr>
      <vt:lpstr>SD Sales</vt:lpstr>
      <vt:lpstr>Pre-Sales</vt:lpstr>
      <vt:lpstr>Sales Order</vt:lpstr>
      <vt:lpstr>Sales Order - Structure</vt:lpstr>
      <vt:lpstr>Header Data</vt:lpstr>
      <vt:lpstr>Item Data</vt:lpstr>
      <vt:lpstr>Schedule Line Data</vt:lpstr>
      <vt:lpstr>Sales – Associated Functions</vt:lpstr>
      <vt:lpstr>Outline Agreements</vt:lpstr>
      <vt:lpstr>Copy Controls</vt:lpstr>
      <vt:lpstr>Sales Document Types</vt:lpstr>
      <vt:lpstr>Sales Document Type - Controls</vt:lpstr>
      <vt:lpstr>Sales Document Type - Controls</vt:lpstr>
      <vt:lpstr>Item Category</vt:lpstr>
      <vt:lpstr>Item Categories - Controls</vt:lpstr>
      <vt:lpstr>Item Categories - Controls</vt:lpstr>
      <vt:lpstr>Schedule Line Categories</vt:lpstr>
      <vt:lpstr>Schedule Line Categories</vt:lpstr>
      <vt:lpstr>Schedule Line Category - Controls</vt:lpstr>
      <vt:lpstr>Schedule Line Category - Controls</vt:lpstr>
      <vt:lpstr>Sales - Transactions</vt:lpstr>
      <vt:lpstr>Inquiry</vt:lpstr>
      <vt:lpstr>Quotation</vt:lpstr>
      <vt:lpstr>Sales Order - Header</vt:lpstr>
      <vt:lpstr>Sales Order – Header Views</vt:lpstr>
      <vt:lpstr>Sales Order - Item</vt:lpstr>
      <vt:lpstr>Sales Order – Item Views</vt:lpstr>
      <vt:lpstr>Sales Order - Environment</vt:lpstr>
      <vt:lpstr>Sales Order – Environment</vt:lpstr>
      <vt:lpstr>Sales Order – Enhanced Functions</vt:lpstr>
      <vt:lpstr>Sales Order – Enhanced Functions</vt:lpstr>
      <vt:lpstr>Copy Control – Header Level</vt:lpstr>
      <vt:lpstr>Copy Control – Item Level</vt:lpstr>
      <vt:lpstr>Copy Control – Schedule Line Level</vt:lpstr>
      <vt:lpstr>Transaction Codes </vt:lpstr>
      <vt:lpstr>Tips and Tricks</vt:lpstr>
      <vt:lpstr>Additional Info</vt:lpstr>
      <vt:lpstr>Additional Info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1003 SD Sales</dc:title>
  <dc:subject>SD Training Manual</dc:subject>
  <dc:creator>Avinash Karve</dc:creator>
  <cp:lastModifiedBy>amnanda</cp:lastModifiedBy>
  <cp:revision>31</cp:revision>
  <dcterms:created xsi:type="dcterms:W3CDTF">2017-07-18T11:44:42Z</dcterms:created>
  <dcterms:modified xsi:type="dcterms:W3CDTF">2017-08-25T05:2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1-21T00:00:00Z</vt:filetime>
  </property>
  <property fmtid="{D5CDD505-2E9C-101B-9397-08002B2CF9AE}" pid="3" name="Creator">
    <vt:lpwstr>Microsoft® Office PowerPoint® 2007</vt:lpwstr>
  </property>
  <property fmtid="{D5CDD505-2E9C-101B-9397-08002B2CF9AE}" pid="4" name="LastSaved">
    <vt:filetime>2017-07-18T00:00:00Z</vt:filetime>
  </property>
</Properties>
</file>